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6.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FFFE4_DDCA9669.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ink/ink1.xml" ContentType="application/inkml+xml"/>
  <Override PartName="/ppt/ink/ink2.xml" ContentType="application/inkml+xml"/>
  <Override PartName="/ppt/comments/modernComment_10A_ABD9FC16.xml" ContentType="application/vnd.ms-powerpoint.comments+xml"/>
  <Override PartName="/ppt/ink/ink3.xml" ContentType="application/inkml+xml"/>
  <Override PartName="/ppt/comments/modernComment_116_43D76CF8.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0" r:id="rId5"/>
    <p:sldMasterId id="2147483704" r:id="rId6"/>
    <p:sldMasterId id="2147483707" r:id="rId7"/>
    <p:sldMasterId id="2147483756" r:id="rId8"/>
    <p:sldMasterId id="2147483769" r:id="rId9"/>
    <p:sldMasterId id="2147483796" r:id="rId10"/>
  </p:sldMasterIdLst>
  <p:notesMasterIdLst>
    <p:notesMasterId r:id="rId22"/>
  </p:notesMasterIdLst>
  <p:sldIdLst>
    <p:sldId id="2147468588" r:id="rId11"/>
    <p:sldId id="2147472203" r:id="rId12"/>
    <p:sldId id="2147480605" r:id="rId13"/>
    <p:sldId id="309" r:id="rId14"/>
    <p:sldId id="2147480606" r:id="rId15"/>
    <p:sldId id="2147483620" r:id="rId16"/>
    <p:sldId id="262" r:id="rId17"/>
    <p:sldId id="2147483619" r:id="rId18"/>
    <p:sldId id="266" r:id="rId19"/>
    <p:sldId id="278" r:id="rId20"/>
    <p:sldId id="279"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8AF947-BE15-82DF-8E6D-38ED8CB876AA}" name="Youxi Zhao3" initials="YZ" userId="S::yzhao3@lenovo.com::8f93c487-d4a6-4463-8a3f-c3618b178f0a" providerId="AD"/>
  <p188:author id="{AC1F8E55-7313-49D8-32A6-972938FBDA0B}" name="Sangeetha Kodithala" initials="SK" userId="S::skodithala@Lenovo.com::9b14550b-c9da-4073-ac79-262cbc35e9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7AC168-192C-AD7C-8E13-A9F08B76B34A}" v="7" dt="2026-06-09T19:49:37.7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notesMaster" Target="notesMasters/notesMaster1.xml"/><Relationship Id="rId27" Type="http://schemas.microsoft.com/office/2015/10/relationships/revisionInfo" Target="revisionInfo.xml"/></Relationships>
</file>

<file path=ppt/comments/modernComment_10A_ABD9FC16.xml><?xml version="1.0" encoding="utf-8"?>
<p188:cmLst xmlns:a="http://schemas.openxmlformats.org/drawingml/2006/main" xmlns:r="http://schemas.openxmlformats.org/officeDocument/2006/relationships" xmlns:p188="http://schemas.microsoft.com/office/powerpoint/2018/8/main">
  <p188:cm id="{7A6D721F-0F27-4A8D-AD1B-BBE5F16CCA38}" authorId="{AC1F8E55-7313-49D8-32A6-972938FBDA0B}" status="resolved" created="2026-03-18T06:54:36.488">
    <ac:txMkLst xmlns:ac="http://schemas.microsoft.com/office/drawing/2013/main/command">
      <pc:docMk xmlns:pc="http://schemas.microsoft.com/office/powerpoint/2013/main/command"/>
      <pc:sldMk xmlns:pc="http://schemas.microsoft.com/office/powerpoint/2013/main/command" cId="2883189782" sldId="266"/>
      <ac:spMk id="28" creationId="{1EC2982F-520E-1D19-4516-7185560AF8AE}"/>
      <ac:txMk cp="8" len="126">
        <ac:context len="493" hash="767143187"/>
      </ac:txMk>
    </ac:txMkLst>
    <p188:pos x="3214753" y="277397"/>
    <p188:txBody>
      <a:bodyPr/>
      <a:lstStyle/>
      <a:p>
        <a:r>
          <a:rPr lang="en-US"/>
          <a:t>[@Divyanshu Aggarwal1] aren’t these 2 sharing the same info? </a:t>
        </a:r>
      </a:p>
    </p188:txBody>
  </p188:cm>
  <p188:cm id="{8EAB9016-0CFC-4A72-A7AE-9A694CEF41EE}" authorId="{6E8AF947-BE15-82DF-8E6D-38ED8CB876AA}" status="resolved" created="2026-03-24T17:10:08.726">
    <ac:deMkLst xmlns:ac="http://schemas.microsoft.com/office/drawing/2013/main/command">
      <pc:docMk xmlns:pc="http://schemas.microsoft.com/office/powerpoint/2013/main/command"/>
      <pc:sldMk xmlns:pc="http://schemas.microsoft.com/office/powerpoint/2013/main/command" cId="2883189782" sldId="266"/>
      <ac:spMk id="28" creationId="{1EC2982F-520E-1D19-4516-7185560AF8AE}"/>
    </ac:deMkLst>
    <p188:txBody>
      <a:bodyPr/>
      <a:lstStyle/>
      <a:p>
        <a:r>
          <a:rPr lang="en-US"/>
          <a:t>is the threshold and REL tiered pricing same as old Indirect setting</a:t>
        </a:r>
      </a:p>
    </p188:txBody>
  </p188:cm>
</p188:cmLst>
</file>

<file path=ppt/comments/modernComment_116_43D76CF8.xml><?xml version="1.0" encoding="utf-8"?>
<p188:cmLst xmlns:a="http://schemas.openxmlformats.org/drawingml/2006/main" xmlns:r="http://schemas.openxmlformats.org/officeDocument/2006/relationships" xmlns:p188="http://schemas.microsoft.com/office/powerpoint/2018/8/main">
  <p188:cm id="{5D721027-BE80-4F84-9C0D-3F7D9547CFBF}" authorId="{6E8AF947-BE15-82DF-8E6D-38ED8CB876AA}" status="resolved" created="2026-03-24T17:11:37.493">
    <pc:sldMkLst xmlns:pc="http://schemas.microsoft.com/office/powerpoint/2013/main/command">
      <pc:docMk/>
      <pc:sldMk cId="1138191608" sldId="278"/>
    </pc:sldMkLst>
    <p188:txBody>
      <a:bodyPr/>
      <a:lstStyle/>
      <a:p>
        <a:r>
          <a:rPr lang="en-US"/>
          <a:t>update T&amp;C</a:t>
        </a:r>
      </a:p>
    </p188:txBody>
  </p188:cm>
</p188:cmLst>
</file>

<file path=ppt/comments/modernComment_7FFFFFE4_DDCA9669.xml><?xml version="1.0" encoding="utf-8"?>
<p188:cmLst xmlns:a="http://schemas.openxmlformats.org/drawingml/2006/main" xmlns:r="http://schemas.openxmlformats.org/officeDocument/2006/relationships" xmlns:p188="http://schemas.microsoft.com/office/powerpoint/2018/8/main">
  <p188:cm id="{0E52BAA1-3BBF-4155-862B-EB9380EA1C28}" authorId="{AC1F8E55-7313-49D8-32A6-972938FBDA0B}" status="resolved" created="2026-03-18T06:49:08.044">
    <pc:sldMkLst xmlns:pc="http://schemas.microsoft.com/office/powerpoint/2013/main/command">
      <pc:docMk/>
      <pc:sldMk cId="2425301985" sldId="267"/>
    </pc:sldMkLst>
    <p188:txBody>
      <a:bodyPr/>
      <a:lstStyle/>
      <a:p>
        <a:r>
          <a:rPr lang="en-US"/>
          <a:t>Can we have roles called out for each of these process steps [@Ryan Park10]  [@Divyanshu Aggarwal1] ?</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400DAB-E512-45D2-8C14-4601A2366E6F}" type="doc">
      <dgm:prSet loTypeId="urn:microsoft.com/office/officeart/2005/8/layout/hProcess9" loCatId="process" qsTypeId="urn:microsoft.com/office/officeart/2005/8/quickstyle/simple1" qsCatId="simple" csTypeId="urn:microsoft.com/office/officeart/2005/8/colors/colorful3" csCatId="colorful" phldr="1"/>
      <dgm:spPr/>
    </dgm:pt>
    <dgm:pt modelId="{C20A5C64-41FE-4BAD-B85F-F2405C86ADD6}">
      <dgm:prSet phldrT="[Text]"/>
      <dgm:spPr/>
      <dgm:t>
        <a:bodyPr/>
        <a:lstStyle/>
        <a:p>
          <a:r>
            <a:rPr lang="en-US"/>
            <a:t>Partner rep initiates quote</a:t>
          </a:r>
        </a:p>
      </dgm:t>
    </dgm:pt>
    <dgm:pt modelId="{31FD890C-C0C1-4992-AE6B-F1CEB347271F}" type="parTrans" cxnId="{7461ADB6-EF0E-494C-BAEF-4F45EB7AF657}">
      <dgm:prSet/>
      <dgm:spPr/>
      <dgm:t>
        <a:bodyPr/>
        <a:lstStyle/>
        <a:p>
          <a:endParaRPr lang="en-US"/>
        </a:p>
      </dgm:t>
    </dgm:pt>
    <dgm:pt modelId="{7C1B5068-5F13-437A-8459-B450AFE464AF}" type="sibTrans" cxnId="{7461ADB6-EF0E-494C-BAEF-4F45EB7AF657}">
      <dgm:prSet/>
      <dgm:spPr/>
      <dgm:t>
        <a:bodyPr/>
        <a:lstStyle/>
        <a:p>
          <a:endParaRPr lang="en-US"/>
        </a:p>
      </dgm:t>
    </dgm:pt>
    <dgm:pt modelId="{8516D21C-1EC9-473E-9740-3420C34E5C2D}">
      <dgm:prSet phldrT="[Text]"/>
      <dgm:spPr/>
      <dgm:t>
        <a:bodyPr/>
        <a:lstStyle/>
        <a:p>
          <a:r>
            <a:rPr lang="en-US"/>
            <a:t>Add Products &amp; Configure</a:t>
          </a:r>
        </a:p>
      </dgm:t>
    </dgm:pt>
    <dgm:pt modelId="{FE1A5A88-E20E-42EE-B682-22E28BCFF09E}" type="parTrans" cxnId="{16F23936-660B-4734-BB3A-53247EC77A27}">
      <dgm:prSet/>
      <dgm:spPr/>
      <dgm:t>
        <a:bodyPr/>
        <a:lstStyle/>
        <a:p>
          <a:endParaRPr lang="en-US"/>
        </a:p>
      </dgm:t>
    </dgm:pt>
    <dgm:pt modelId="{355B0624-1ACF-45C1-9C86-EBD41C653FA3}" type="sibTrans" cxnId="{16F23936-660B-4734-BB3A-53247EC77A27}">
      <dgm:prSet/>
      <dgm:spPr/>
      <dgm:t>
        <a:bodyPr/>
        <a:lstStyle/>
        <a:p>
          <a:endParaRPr lang="en-US"/>
        </a:p>
      </dgm:t>
    </dgm:pt>
    <dgm:pt modelId="{2CF6EF1F-F303-4ED3-B6E3-DEB3268BA468}">
      <dgm:prSet phldrT="[Text]"/>
      <dgm:spPr/>
      <dgm:t>
        <a:bodyPr/>
        <a:lstStyle/>
        <a:p>
          <a:r>
            <a:rPr lang="en-US"/>
            <a:t>Resell price with uplift approved</a:t>
          </a:r>
        </a:p>
      </dgm:t>
    </dgm:pt>
    <dgm:pt modelId="{7D6BDF69-BD9E-459C-BDDC-5402814EFFED}" type="parTrans" cxnId="{D6770DBA-8C4A-441B-ABD5-5B70D9D0063B}">
      <dgm:prSet/>
      <dgm:spPr/>
      <dgm:t>
        <a:bodyPr/>
        <a:lstStyle/>
        <a:p>
          <a:endParaRPr lang="en-US"/>
        </a:p>
      </dgm:t>
    </dgm:pt>
    <dgm:pt modelId="{11128788-C696-4666-A560-3C214B46F45B}" type="sibTrans" cxnId="{D6770DBA-8C4A-441B-ABD5-5B70D9D0063B}">
      <dgm:prSet/>
      <dgm:spPr/>
      <dgm:t>
        <a:bodyPr/>
        <a:lstStyle/>
        <a:p>
          <a:endParaRPr lang="en-US"/>
        </a:p>
      </dgm:t>
    </dgm:pt>
    <dgm:pt modelId="{376FF7AD-6DF2-4E68-AA82-B0D78D6FCD8A}">
      <dgm:prSet phldrT="[Text]"/>
      <dgm:spPr/>
      <dgm:t>
        <a:bodyPr/>
        <a:lstStyle/>
        <a:p>
          <a:r>
            <a:rPr lang="en-US"/>
            <a:t>Financing Quote Request</a:t>
          </a:r>
        </a:p>
      </dgm:t>
    </dgm:pt>
    <dgm:pt modelId="{6BF22E09-0D55-4429-AA36-213A581A6A89}" type="parTrans" cxnId="{23EAB377-4805-41FE-9433-5E0CCD6C0C4C}">
      <dgm:prSet/>
      <dgm:spPr/>
      <dgm:t>
        <a:bodyPr/>
        <a:lstStyle/>
        <a:p>
          <a:endParaRPr lang="en-US"/>
        </a:p>
      </dgm:t>
    </dgm:pt>
    <dgm:pt modelId="{AAB01184-A3D6-47BE-BA89-5C22B7505735}" type="sibTrans" cxnId="{23EAB377-4805-41FE-9433-5E0CCD6C0C4C}">
      <dgm:prSet/>
      <dgm:spPr/>
      <dgm:t>
        <a:bodyPr/>
        <a:lstStyle/>
        <a:p>
          <a:endParaRPr lang="en-US"/>
        </a:p>
      </dgm:t>
    </dgm:pt>
    <dgm:pt modelId="{D40CE291-3573-407E-B113-8040DF9F1761}">
      <dgm:prSet phldrT="[Text]"/>
      <dgm:spPr/>
      <dgm:t>
        <a:bodyPr/>
        <a:lstStyle/>
        <a:p>
          <a:r>
            <a:rPr lang="en-US"/>
            <a:t>Financing Quote Generation</a:t>
          </a:r>
        </a:p>
      </dgm:t>
    </dgm:pt>
    <dgm:pt modelId="{F7508827-43E9-4E28-993A-FA1F593C84B3}" type="parTrans" cxnId="{75BC788E-8A5A-4E31-8342-5733EEB9A571}">
      <dgm:prSet/>
      <dgm:spPr/>
      <dgm:t>
        <a:bodyPr/>
        <a:lstStyle/>
        <a:p>
          <a:endParaRPr lang="en-US"/>
        </a:p>
      </dgm:t>
    </dgm:pt>
    <dgm:pt modelId="{A083F053-CA52-4804-8B6F-CE5337E3A9AA}" type="sibTrans" cxnId="{75BC788E-8A5A-4E31-8342-5733EEB9A571}">
      <dgm:prSet/>
      <dgm:spPr/>
      <dgm:t>
        <a:bodyPr/>
        <a:lstStyle/>
        <a:p>
          <a:endParaRPr lang="en-US"/>
        </a:p>
      </dgm:t>
    </dgm:pt>
    <dgm:pt modelId="{85943B36-93FB-4BA4-8757-4D97AA657B5E}">
      <dgm:prSet phldrT="[Text]"/>
      <dgm:spPr/>
      <dgm:t>
        <a:bodyPr/>
        <a:lstStyle/>
        <a:p>
          <a:r>
            <a:rPr lang="en-US"/>
            <a:t>Share Indicative price with customer</a:t>
          </a:r>
        </a:p>
      </dgm:t>
    </dgm:pt>
    <dgm:pt modelId="{1A7A4123-E07D-4858-9975-BCB2DEED21CB}" type="parTrans" cxnId="{D075FF1E-F4DB-4514-969E-4B78B381DA33}">
      <dgm:prSet/>
      <dgm:spPr/>
      <dgm:t>
        <a:bodyPr/>
        <a:lstStyle/>
        <a:p>
          <a:endParaRPr lang="en-US"/>
        </a:p>
      </dgm:t>
    </dgm:pt>
    <dgm:pt modelId="{DFB5CF9C-F290-4116-9FDA-3CF36DE5C72D}" type="sibTrans" cxnId="{D075FF1E-F4DB-4514-969E-4B78B381DA33}">
      <dgm:prSet/>
      <dgm:spPr/>
      <dgm:t>
        <a:bodyPr/>
        <a:lstStyle/>
        <a:p>
          <a:endParaRPr lang="en-US"/>
        </a:p>
      </dgm:t>
    </dgm:pt>
    <dgm:pt modelId="{6222B507-2A3E-4479-81B0-90165B62384B}">
      <dgm:prSet phldrT="[Text]"/>
      <dgm:spPr/>
      <dgm:t>
        <a:bodyPr/>
        <a:lstStyle/>
        <a:p>
          <a:r>
            <a:rPr lang="en-US"/>
            <a:t>Request ‘Move to Next Step”</a:t>
          </a:r>
        </a:p>
      </dgm:t>
    </dgm:pt>
    <dgm:pt modelId="{708ADCA7-9AA8-44AE-B727-DD4C98A6BB9A}" type="parTrans" cxnId="{BF3DAB38-7C43-4123-9663-15CC18555EA3}">
      <dgm:prSet/>
      <dgm:spPr/>
      <dgm:t>
        <a:bodyPr/>
        <a:lstStyle/>
        <a:p>
          <a:endParaRPr lang="en-US"/>
        </a:p>
      </dgm:t>
    </dgm:pt>
    <dgm:pt modelId="{C2072BB5-2DA1-4114-B450-0BE2795C83D6}" type="sibTrans" cxnId="{BF3DAB38-7C43-4123-9663-15CC18555EA3}">
      <dgm:prSet/>
      <dgm:spPr/>
      <dgm:t>
        <a:bodyPr/>
        <a:lstStyle/>
        <a:p>
          <a:endParaRPr lang="en-US"/>
        </a:p>
      </dgm:t>
    </dgm:pt>
    <dgm:pt modelId="{0DAAF1E8-2939-4FCE-82DC-2FE2B60ABDAE}">
      <dgm:prSet phldrT="[Text]"/>
      <dgm:spPr/>
      <dgm:t>
        <a:bodyPr/>
        <a:lstStyle/>
        <a:p>
          <a:r>
            <a:rPr lang="en-US"/>
            <a:t>Request sent to LGFS / Funder</a:t>
          </a:r>
        </a:p>
      </dgm:t>
    </dgm:pt>
    <dgm:pt modelId="{B389A01A-9E65-4677-9015-88E919AA4380}" type="parTrans" cxnId="{11311C9E-1DCA-455A-A0C4-A9C27B71077D}">
      <dgm:prSet/>
      <dgm:spPr/>
      <dgm:t>
        <a:bodyPr/>
        <a:lstStyle/>
        <a:p>
          <a:endParaRPr lang="en-US"/>
        </a:p>
      </dgm:t>
    </dgm:pt>
    <dgm:pt modelId="{EDF9B089-A252-427D-A181-E8E01B2B5B48}" type="sibTrans" cxnId="{11311C9E-1DCA-455A-A0C4-A9C27B71077D}">
      <dgm:prSet/>
      <dgm:spPr/>
      <dgm:t>
        <a:bodyPr/>
        <a:lstStyle/>
        <a:p>
          <a:endParaRPr lang="en-US"/>
        </a:p>
      </dgm:t>
    </dgm:pt>
    <dgm:pt modelId="{931D3CBE-9077-4A56-97A4-3392AC8A2044}" type="pres">
      <dgm:prSet presAssocID="{EA400DAB-E512-45D2-8C14-4601A2366E6F}" presName="CompostProcess" presStyleCnt="0">
        <dgm:presLayoutVars>
          <dgm:dir/>
          <dgm:resizeHandles val="exact"/>
        </dgm:presLayoutVars>
      </dgm:prSet>
      <dgm:spPr/>
    </dgm:pt>
    <dgm:pt modelId="{3DB66A9F-DE4B-468C-95B2-D47849F29381}" type="pres">
      <dgm:prSet presAssocID="{EA400DAB-E512-45D2-8C14-4601A2366E6F}" presName="arrow" presStyleLbl="bgShp" presStyleIdx="0" presStyleCnt="1" custLinFactNeighborX="-5278" custLinFactNeighborY="15052"/>
      <dgm:spPr/>
    </dgm:pt>
    <dgm:pt modelId="{F35DDED5-5153-4C52-BB56-A65D5A8208C7}" type="pres">
      <dgm:prSet presAssocID="{EA400DAB-E512-45D2-8C14-4601A2366E6F}" presName="linearProcess" presStyleCnt="0"/>
      <dgm:spPr/>
    </dgm:pt>
    <dgm:pt modelId="{AE89683A-7B5B-46D5-8CCC-1B53616AC6E8}" type="pres">
      <dgm:prSet presAssocID="{C20A5C64-41FE-4BAD-B85F-F2405C86ADD6}" presName="textNode" presStyleLbl="node1" presStyleIdx="0" presStyleCnt="8">
        <dgm:presLayoutVars>
          <dgm:bulletEnabled val="1"/>
        </dgm:presLayoutVars>
      </dgm:prSet>
      <dgm:spPr/>
    </dgm:pt>
    <dgm:pt modelId="{E63AD375-2190-4463-8D28-85E4729E2745}" type="pres">
      <dgm:prSet presAssocID="{7C1B5068-5F13-437A-8459-B450AFE464AF}" presName="sibTrans" presStyleCnt="0"/>
      <dgm:spPr/>
    </dgm:pt>
    <dgm:pt modelId="{06B20783-9751-4DF9-98BF-0028977C2084}" type="pres">
      <dgm:prSet presAssocID="{8516D21C-1EC9-473E-9740-3420C34E5C2D}" presName="textNode" presStyleLbl="node1" presStyleIdx="1" presStyleCnt="8">
        <dgm:presLayoutVars>
          <dgm:bulletEnabled val="1"/>
        </dgm:presLayoutVars>
      </dgm:prSet>
      <dgm:spPr/>
    </dgm:pt>
    <dgm:pt modelId="{96C3E63D-7C89-4AE8-AD74-58AE57E38580}" type="pres">
      <dgm:prSet presAssocID="{355B0624-1ACF-45C1-9C86-EBD41C653FA3}" presName="sibTrans" presStyleCnt="0"/>
      <dgm:spPr/>
    </dgm:pt>
    <dgm:pt modelId="{9E5B81A2-5DCE-440E-BF7E-AED1524B90C5}" type="pres">
      <dgm:prSet presAssocID="{2CF6EF1F-F303-4ED3-B6E3-DEB3268BA468}" presName="textNode" presStyleLbl="node1" presStyleIdx="2" presStyleCnt="8">
        <dgm:presLayoutVars>
          <dgm:bulletEnabled val="1"/>
        </dgm:presLayoutVars>
      </dgm:prSet>
      <dgm:spPr/>
    </dgm:pt>
    <dgm:pt modelId="{3F685FFD-EDDA-441C-BCCF-4587B40CB122}" type="pres">
      <dgm:prSet presAssocID="{11128788-C696-4666-A560-3C214B46F45B}" presName="sibTrans" presStyleCnt="0"/>
      <dgm:spPr/>
    </dgm:pt>
    <dgm:pt modelId="{DA574784-E769-45C5-9447-36F5ECA29BB6}" type="pres">
      <dgm:prSet presAssocID="{376FF7AD-6DF2-4E68-AA82-B0D78D6FCD8A}" presName="textNode" presStyleLbl="node1" presStyleIdx="3" presStyleCnt="8">
        <dgm:presLayoutVars>
          <dgm:bulletEnabled val="1"/>
        </dgm:presLayoutVars>
      </dgm:prSet>
      <dgm:spPr/>
    </dgm:pt>
    <dgm:pt modelId="{0F66E925-3625-4432-B979-CCF86A5DB06F}" type="pres">
      <dgm:prSet presAssocID="{AAB01184-A3D6-47BE-BA89-5C22B7505735}" presName="sibTrans" presStyleCnt="0"/>
      <dgm:spPr/>
    </dgm:pt>
    <dgm:pt modelId="{5E2DE1A0-18B0-45D0-8E1E-E92F1B9A7496}" type="pres">
      <dgm:prSet presAssocID="{D40CE291-3573-407E-B113-8040DF9F1761}" presName="textNode" presStyleLbl="node1" presStyleIdx="4" presStyleCnt="8">
        <dgm:presLayoutVars>
          <dgm:bulletEnabled val="1"/>
        </dgm:presLayoutVars>
      </dgm:prSet>
      <dgm:spPr/>
    </dgm:pt>
    <dgm:pt modelId="{A6C6724C-2FF4-4816-864D-B063E47CCE32}" type="pres">
      <dgm:prSet presAssocID="{A083F053-CA52-4804-8B6F-CE5337E3A9AA}" presName="sibTrans" presStyleCnt="0"/>
      <dgm:spPr/>
    </dgm:pt>
    <dgm:pt modelId="{73498F2D-A347-4B37-8C9C-54CBAE0ADBB9}" type="pres">
      <dgm:prSet presAssocID="{85943B36-93FB-4BA4-8757-4D97AA657B5E}" presName="textNode" presStyleLbl="node1" presStyleIdx="5" presStyleCnt="8">
        <dgm:presLayoutVars>
          <dgm:bulletEnabled val="1"/>
        </dgm:presLayoutVars>
      </dgm:prSet>
      <dgm:spPr/>
    </dgm:pt>
    <dgm:pt modelId="{4CEB496D-69C1-49C3-AE73-9E4F2E2E1490}" type="pres">
      <dgm:prSet presAssocID="{DFB5CF9C-F290-4116-9FDA-3CF36DE5C72D}" presName="sibTrans" presStyleCnt="0"/>
      <dgm:spPr/>
    </dgm:pt>
    <dgm:pt modelId="{4424600B-92F1-4643-A543-CB2F42A6049B}" type="pres">
      <dgm:prSet presAssocID="{6222B507-2A3E-4479-81B0-90165B62384B}" presName="textNode" presStyleLbl="node1" presStyleIdx="6" presStyleCnt="8">
        <dgm:presLayoutVars>
          <dgm:bulletEnabled val="1"/>
        </dgm:presLayoutVars>
      </dgm:prSet>
      <dgm:spPr/>
    </dgm:pt>
    <dgm:pt modelId="{C002659B-46B3-455A-9765-5B7C5625F82B}" type="pres">
      <dgm:prSet presAssocID="{C2072BB5-2DA1-4114-B450-0BE2795C83D6}" presName="sibTrans" presStyleCnt="0"/>
      <dgm:spPr/>
    </dgm:pt>
    <dgm:pt modelId="{4E2408AA-615C-4E88-9239-75E135D2A760}" type="pres">
      <dgm:prSet presAssocID="{0DAAF1E8-2939-4FCE-82DC-2FE2B60ABDAE}" presName="textNode" presStyleLbl="node1" presStyleIdx="7" presStyleCnt="8">
        <dgm:presLayoutVars>
          <dgm:bulletEnabled val="1"/>
        </dgm:presLayoutVars>
      </dgm:prSet>
      <dgm:spPr/>
    </dgm:pt>
  </dgm:ptLst>
  <dgm:cxnLst>
    <dgm:cxn modelId="{D075FF1E-F4DB-4514-969E-4B78B381DA33}" srcId="{EA400DAB-E512-45D2-8C14-4601A2366E6F}" destId="{85943B36-93FB-4BA4-8757-4D97AA657B5E}" srcOrd="5" destOrd="0" parTransId="{1A7A4123-E07D-4858-9975-BCB2DEED21CB}" sibTransId="{DFB5CF9C-F290-4116-9FDA-3CF36DE5C72D}"/>
    <dgm:cxn modelId="{16F23936-660B-4734-BB3A-53247EC77A27}" srcId="{EA400DAB-E512-45D2-8C14-4601A2366E6F}" destId="{8516D21C-1EC9-473E-9740-3420C34E5C2D}" srcOrd="1" destOrd="0" parTransId="{FE1A5A88-E20E-42EE-B682-22E28BCFF09E}" sibTransId="{355B0624-1ACF-45C1-9C86-EBD41C653FA3}"/>
    <dgm:cxn modelId="{48F43E36-0FBC-42E0-87C4-D62A63EBCF68}" type="presOf" srcId="{8516D21C-1EC9-473E-9740-3420C34E5C2D}" destId="{06B20783-9751-4DF9-98BF-0028977C2084}" srcOrd="0" destOrd="0" presId="urn:microsoft.com/office/officeart/2005/8/layout/hProcess9"/>
    <dgm:cxn modelId="{BF3DAB38-7C43-4123-9663-15CC18555EA3}" srcId="{EA400DAB-E512-45D2-8C14-4601A2366E6F}" destId="{6222B507-2A3E-4479-81B0-90165B62384B}" srcOrd="6" destOrd="0" parTransId="{708ADCA7-9AA8-44AE-B727-DD4C98A6BB9A}" sibTransId="{C2072BB5-2DA1-4114-B450-0BE2795C83D6}"/>
    <dgm:cxn modelId="{135F6A67-A291-485E-957E-E091F9B7B049}" type="presOf" srcId="{6222B507-2A3E-4479-81B0-90165B62384B}" destId="{4424600B-92F1-4643-A543-CB2F42A6049B}" srcOrd="0" destOrd="0" presId="urn:microsoft.com/office/officeart/2005/8/layout/hProcess9"/>
    <dgm:cxn modelId="{B7CCA54B-FBAA-4EC8-8534-D37603FBE903}" type="presOf" srcId="{85943B36-93FB-4BA4-8757-4D97AA657B5E}" destId="{73498F2D-A347-4B37-8C9C-54CBAE0ADBB9}" srcOrd="0" destOrd="0" presId="urn:microsoft.com/office/officeart/2005/8/layout/hProcess9"/>
    <dgm:cxn modelId="{23EAB377-4805-41FE-9433-5E0CCD6C0C4C}" srcId="{EA400DAB-E512-45D2-8C14-4601A2366E6F}" destId="{376FF7AD-6DF2-4E68-AA82-B0D78D6FCD8A}" srcOrd="3" destOrd="0" parTransId="{6BF22E09-0D55-4429-AA36-213A581A6A89}" sibTransId="{AAB01184-A3D6-47BE-BA89-5C22B7505735}"/>
    <dgm:cxn modelId="{65B75C7D-F736-42A1-83A3-D3D6B3AF540D}" type="presOf" srcId="{2CF6EF1F-F303-4ED3-B6E3-DEB3268BA468}" destId="{9E5B81A2-5DCE-440E-BF7E-AED1524B90C5}" srcOrd="0" destOrd="0" presId="urn:microsoft.com/office/officeart/2005/8/layout/hProcess9"/>
    <dgm:cxn modelId="{75BC788E-8A5A-4E31-8342-5733EEB9A571}" srcId="{EA400DAB-E512-45D2-8C14-4601A2366E6F}" destId="{D40CE291-3573-407E-B113-8040DF9F1761}" srcOrd="4" destOrd="0" parTransId="{F7508827-43E9-4E28-993A-FA1F593C84B3}" sibTransId="{A083F053-CA52-4804-8B6F-CE5337E3A9AA}"/>
    <dgm:cxn modelId="{99120197-B720-447C-9B27-7063F2BFE9E4}" type="presOf" srcId="{C20A5C64-41FE-4BAD-B85F-F2405C86ADD6}" destId="{AE89683A-7B5B-46D5-8CCC-1B53616AC6E8}" srcOrd="0" destOrd="0" presId="urn:microsoft.com/office/officeart/2005/8/layout/hProcess9"/>
    <dgm:cxn modelId="{11311C9E-1DCA-455A-A0C4-A9C27B71077D}" srcId="{EA400DAB-E512-45D2-8C14-4601A2366E6F}" destId="{0DAAF1E8-2939-4FCE-82DC-2FE2B60ABDAE}" srcOrd="7" destOrd="0" parTransId="{B389A01A-9E65-4677-9015-88E919AA4380}" sibTransId="{EDF9B089-A252-427D-A181-E8E01B2B5B48}"/>
    <dgm:cxn modelId="{03E3819E-6662-4EC5-9C67-BC25DA0A94E9}" type="presOf" srcId="{376FF7AD-6DF2-4E68-AA82-B0D78D6FCD8A}" destId="{DA574784-E769-45C5-9447-36F5ECA29BB6}" srcOrd="0" destOrd="0" presId="urn:microsoft.com/office/officeart/2005/8/layout/hProcess9"/>
    <dgm:cxn modelId="{7461ADB6-EF0E-494C-BAEF-4F45EB7AF657}" srcId="{EA400DAB-E512-45D2-8C14-4601A2366E6F}" destId="{C20A5C64-41FE-4BAD-B85F-F2405C86ADD6}" srcOrd="0" destOrd="0" parTransId="{31FD890C-C0C1-4992-AE6B-F1CEB347271F}" sibTransId="{7C1B5068-5F13-437A-8459-B450AFE464AF}"/>
    <dgm:cxn modelId="{D6770DBA-8C4A-441B-ABD5-5B70D9D0063B}" srcId="{EA400DAB-E512-45D2-8C14-4601A2366E6F}" destId="{2CF6EF1F-F303-4ED3-B6E3-DEB3268BA468}" srcOrd="2" destOrd="0" parTransId="{7D6BDF69-BD9E-459C-BDDC-5402814EFFED}" sibTransId="{11128788-C696-4666-A560-3C214B46F45B}"/>
    <dgm:cxn modelId="{6ECBD8BC-2445-4E10-AB7F-AF55ADABD4A9}" type="presOf" srcId="{D40CE291-3573-407E-B113-8040DF9F1761}" destId="{5E2DE1A0-18B0-45D0-8E1E-E92F1B9A7496}" srcOrd="0" destOrd="0" presId="urn:microsoft.com/office/officeart/2005/8/layout/hProcess9"/>
    <dgm:cxn modelId="{6ED5AED7-23F5-46D0-AF10-9830761CD2EA}" type="presOf" srcId="{EA400DAB-E512-45D2-8C14-4601A2366E6F}" destId="{931D3CBE-9077-4A56-97A4-3392AC8A2044}" srcOrd="0" destOrd="0" presId="urn:microsoft.com/office/officeart/2005/8/layout/hProcess9"/>
    <dgm:cxn modelId="{CFF9BEF1-FCEF-4C92-A77A-C1E4047C4100}" type="presOf" srcId="{0DAAF1E8-2939-4FCE-82DC-2FE2B60ABDAE}" destId="{4E2408AA-615C-4E88-9239-75E135D2A760}" srcOrd="0" destOrd="0" presId="urn:microsoft.com/office/officeart/2005/8/layout/hProcess9"/>
    <dgm:cxn modelId="{D6BB4C8B-A278-4094-A520-B681CFE58E53}" type="presParOf" srcId="{931D3CBE-9077-4A56-97A4-3392AC8A2044}" destId="{3DB66A9F-DE4B-468C-95B2-D47849F29381}" srcOrd="0" destOrd="0" presId="urn:microsoft.com/office/officeart/2005/8/layout/hProcess9"/>
    <dgm:cxn modelId="{30A20B05-F118-4835-BE96-D35DACF34838}" type="presParOf" srcId="{931D3CBE-9077-4A56-97A4-3392AC8A2044}" destId="{F35DDED5-5153-4C52-BB56-A65D5A8208C7}" srcOrd="1" destOrd="0" presId="urn:microsoft.com/office/officeart/2005/8/layout/hProcess9"/>
    <dgm:cxn modelId="{25D8B76D-E8FC-4AE5-B4C5-0CBF33B0CE8D}" type="presParOf" srcId="{F35DDED5-5153-4C52-BB56-A65D5A8208C7}" destId="{AE89683A-7B5B-46D5-8CCC-1B53616AC6E8}" srcOrd="0" destOrd="0" presId="urn:microsoft.com/office/officeart/2005/8/layout/hProcess9"/>
    <dgm:cxn modelId="{9C21726A-58DC-4164-ABE7-F31A51EF0CB0}" type="presParOf" srcId="{F35DDED5-5153-4C52-BB56-A65D5A8208C7}" destId="{E63AD375-2190-4463-8D28-85E4729E2745}" srcOrd="1" destOrd="0" presId="urn:microsoft.com/office/officeart/2005/8/layout/hProcess9"/>
    <dgm:cxn modelId="{E55201EE-E4EB-42C6-A2DA-FD4E9E839024}" type="presParOf" srcId="{F35DDED5-5153-4C52-BB56-A65D5A8208C7}" destId="{06B20783-9751-4DF9-98BF-0028977C2084}" srcOrd="2" destOrd="0" presId="urn:microsoft.com/office/officeart/2005/8/layout/hProcess9"/>
    <dgm:cxn modelId="{1A7E3303-2701-4EF6-B67B-89C9AE203F38}" type="presParOf" srcId="{F35DDED5-5153-4C52-BB56-A65D5A8208C7}" destId="{96C3E63D-7C89-4AE8-AD74-58AE57E38580}" srcOrd="3" destOrd="0" presId="urn:microsoft.com/office/officeart/2005/8/layout/hProcess9"/>
    <dgm:cxn modelId="{366F3FF1-87F0-4763-B25D-37BA37435D87}" type="presParOf" srcId="{F35DDED5-5153-4C52-BB56-A65D5A8208C7}" destId="{9E5B81A2-5DCE-440E-BF7E-AED1524B90C5}" srcOrd="4" destOrd="0" presId="urn:microsoft.com/office/officeart/2005/8/layout/hProcess9"/>
    <dgm:cxn modelId="{4D961A04-C80D-4F7F-9BA5-956B3707339A}" type="presParOf" srcId="{F35DDED5-5153-4C52-BB56-A65D5A8208C7}" destId="{3F685FFD-EDDA-441C-BCCF-4587B40CB122}" srcOrd="5" destOrd="0" presId="urn:microsoft.com/office/officeart/2005/8/layout/hProcess9"/>
    <dgm:cxn modelId="{3966F926-6CFA-4DB3-B8D1-2C4FB6B75FE4}" type="presParOf" srcId="{F35DDED5-5153-4C52-BB56-A65D5A8208C7}" destId="{DA574784-E769-45C5-9447-36F5ECA29BB6}" srcOrd="6" destOrd="0" presId="urn:microsoft.com/office/officeart/2005/8/layout/hProcess9"/>
    <dgm:cxn modelId="{8CB2D744-5FA8-4133-85E0-3252AF8F1A2B}" type="presParOf" srcId="{F35DDED5-5153-4C52-BB56-A65D5A8208C7}" destId="{0F66E925-3625-4432-B979-CCF86A5DB06F}" srcOrd="7" destOrd="0" presId="urn:microsoft.com/office/officeart/2005/8/layout/hProcess9"/>
    <dgm:cxn modelId="{A229F97A-0C81-40AE-A341-C5458B00D6EB}" type="presParOf" srcId="{F35DDED5-5153-4C52-BB56-A65D5A8208C7}" destId="{5E2DE1A0-18B0-45D0-8E1E-E92F1B9A7496}" srcOrd="8" destOrd="0" presId="urn:microsoft.com/office/officeart/2005/8/layout/hProcess9"/>
    <dgm:cxn modelId="{8F242DAC-DC68-4E1E-8618-BB8BC280DE01}" type="presParOf" srcId="{F35DDED5-5153-4C52-BB56-A65D5A8208C7}" destId="{A6C6724C-2FF4-4816-864D-B063E47CCE32}" srcOrd="9" destOrd="0" presId="urn:microsoft.com/office/officeart/2005/8/layout/hProcess9"/>
    <dgm:cxn modelId="{1F0720D4-4957-4F7F-93B2-814D7AF2A41D}" type="presParOf" srcId="{F35DDED5-5153-4C52-BB56-A65D5A8208C7}" destId="{73498F2D-A347-4B37-8C9C-54CBAE0ADBB9}" srcOrd="10" destOrd="0" presId="urn:microsoft.com/office/officeart/2005/8/layout/hProcess9"/>
    <dgm:cxn modelId="{431F8B10-3413-4E75-95B2-A6249682F12C}" type="presParOf" srcId="{F35DDED5-5153-4C52-BB56-A65D5A8208C7}" destId="{4CEB496D-69C1-49C3-AE73-9E4F2E2E1490}" srcOrd="11" destOrd="0" presId="urn:microsoft.com/office/officeart/2005/8/layout/hProcess9"/>
    <dgm:cxn modelId="{97D046DF-45DA-4F11-B05A-C474CA937D3F}" type="presParOf" srcId="{F35DDED5-5153-4C52-BB56-A65D5A8208C7}" destId="{4424600B-92F1-4643-A543-CB2F42A6049B}" srcOrd="12" destOrd="0" presId="urn:microsoft.com/office/officeart/2005/8/layout/hProcess9"/>
    <dgm:cxn modelId="{0DA61463-5B4F-4AB3-AC2A-C5E445A823C8}" type="presParOf" srcId="{F35DDED5-5153-4C52-BB56-A65D5A8208C7}" destId="{C002659B-46B3-455A-9765-5B7C5625F82B}" srcOrd="13" destOrd="0" presId="urn:microsoft.com/office/officeart/2005/8/layout/hProcess9"/>
    <dgm:cxn modelId="{0F9BE3B4-E644-4531-A4FB-5332EAA198C9}" type="presParOf" srcId="{F35DDED5-5153-4C52-BB56-A65D5A8208C7}" destId="{4E2408AA-615C-4E88-9239-75E135D2A760}" srcOrd="1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B66A9F-DE4B-468C-95B2-D47849F29381}">
      <dsp:nvSpPr>
        <dsp:cNvPr id="0" name=""/>
        <dsp:cNvSpPr/>
      </dsp:nvSpPr>
      <dsp:spPr>
        <a:xfrm>
          <a:off x="337602" y="0"/>
          <a:ext cx="9521911" cy="5450275"/>
        </a:xfrm>
        <a:prstGeom prst="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89683A-7B5B-46D5-8CCC-1B53616AC6E8}">
      <dsp:nvSpPr>
        <dsp:cNvPr id="0" name=""/>
        <dsp:cNvSpPr/>
      </dsp:nvSpPr>
      <dsp:spPr>
        <a:xfrm>
          <a:off x="444" y="1635082"/>
          <a:ext cx="1341480" cy="218011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Partner rep initiates quote</a:t>
          </a:r>
        </a:p>
      </dsp:txBody>
      <dsp:txXfrm>
        <a:off x="65930" y="1700568"/>
        <a:ext cx="1210508" cy="2049138"/>
      </dsp:txXfrm>
    </dsp:sp>
    <dsp:sp modelId="{06B20783-9751-4DF9-98BF-0028977C2084}">
      <dsp:nvSpPr>
        <dsp:cNvPr id="0" name=""/>
        <dsp:cNvSpPr/>
      </dsp:nvSpPr>
      <dsp:spPr>
        <a:xfrm>
          <a:off x="1408998" y="1635082"/>
          <a:ext cx="1341480" cy="2180110"/>
        </a:xfrm>
        <a:prstGeom prst="roundRect">
          <a:avLst/>
        </a:prstGeom>
        <a:solidFill>
          <a:schemeClr val="accent3">
            <a:hueOff val="5638"/>
            <a:satOff val="4964"/>
            <a:lumOff val="-876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Add Products &amp; Configure</a:t>
          </a:r>
        </a:p>
      </dsp:txBody>
      <dsp:txXfrm>
        <a:off x="1474484" y="1700568"/>
        <a:ext cx="1210508" cy="2049138"/>
      </dsp:txXfrm>
    </dsp:sp>
    <dsp:sp modelId="{9E5B81A2-5DCE-440E-BF7E-AED1524B90C5}">
      <dsp:nvSpPr>
        <dsp:cNvPr id="0" name=""/>
        <dsp:cNvSpPr/>
      </dsp:nvSpPr>
      <dsp:spPr>
        <a:xfrm>
          <a:off x="2817552" y="1635082"/>
          <a:ext cx="1341480" cy="2180110"/>
        </a:xfrm>
        <a:prstGeom prst="roundRect">
          <a:avLst/>
        </a:prstGeom>
        <a:solidFill>
          <a:schemeClr val="accent3">
            <a:hueOff val="11275"/>
            <a:satOff val="9928"/>
            <a:lumOff val="-1753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Resell price with uplift approved</a:t>
          </a:r>
        </a:p>
      </dsp:txBody>
      <dsp:txXfrm>
        <a:off x="2883038" y="1700568"/>
        <a:ext cx="1210508" cy="2049138"/>
      </dsp:txXfrm>
    </dsp:sp>
    <dsp:sp modelId="{DA574784-E769-45C5-9447-36F5ECA29BB6}">
      <dsp:nvSpPr>
        <dsp:cNvPr id="0" name=""/>
        <dsp:cNvSpPr/>
      </dsp:nvSpPr>
      <dsp:spPr>
        <a:xfrm>
          <a:off x="4226107" y="1635082"/>
          <a:ext cx="1341480" cy="2180110"/>
        </a:xfrm>
        <a:prstGeom prst="roundRect">
          <a:avLst/>
        </a:prstGeom>
        <a:solidFill>
          <a:schemeClr val="accent3">
            <a:hueOff val="16913"/>
            <a:satOff val="14892"/>
            <a:lumOff val="-263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Financing Quote Request</a:t>
          </a:r>
        </a:p>
      </dsp:txBody>
      <dsp:txXfrm>
        <a:off x="4291593" y="1700568"/>
        <a:ext cx="1210508" cy="2049138"/>
      </dsp:txXfrm>
    </dsp:sp>
    <dsp:sp modelId="{5E2DE1A0-18B0-45D0-8E1E-E92F1B9A7496}">
      <dsp:nvSpPr>
        <dsp:cNvPr id="0" name=""/>
        <dsp:cNvSpPr/>
      </dsp:nvSpPr>
      <dsp:spPr>
        <a:xfrm>
          <a:off x="5634661" y="1635082"/>
          <a:ext cx="1341480" cy="2180110"/>
        </a:xfrm>
        <a:prstGeom prst="roundRect">
          <a:avLst/>
        </a:prstGeom>
        <a:solidFill>
          <a:schemeClr val="accent3">
            <a:hueOff val="22550"/>
            <a:satOff val="19856"/>
            <a:lumOff val="-350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Financing Quote Generation</a:t>
          </a:r>
        </a:p>
      </dsp:txBody>
      <dsp:txXfrm>
        <a:off x="5700147" y="1700568"/>
        <a:ext cx="1210508" cy="2049138"/>
      </dsp:txXfrm>
    </dsp:sp>
    <dsp:sp modelId="{73498F2D-A347-4B37-8C9C-54CBAE0ADBB9}">
      <dsp:nvSpPr>
        <dsp:cNvPr id="0" name=""/>
        <dsp:cNvSpPr/>
      </dsp:nvSpPr>
      <dsp:spPr>
        <a:xfrm>
          <a:off x="7043215" y="1635082"/>
          <a:ext cx="1341480" cy="2180110"/>
        </a:xfrm>
        <a:prstGeom prst="roundRect">
          <a:avLst/>
        </a:prstGeom>
        <a:solidFill>
          <a:schemeClr val="accent3">
            <a:hueOff val="28188"/>
            <a:satOff val="24820"/>
            <a:lumOff val="-4383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Share Indicative price with customer</a:t>
          </a:r>
        </a:p>
      </dsp:txBody>
      <dsp:txXfrm>
        <a:off x="7108701" y="1700568"/>
        <a:ext cx="1210508" cy="2049138"/>
      </dsp:txXfrm>
    </dsp:sp>
    <dsp:sp modelId="{4424600B-92F1-4643-A543-CB2F42A6049B}">
      <dsp:nvSpPr>
        <dsp:cNvPr id="0" name=""/>
        <dsp:cNvSpPr/>
      </dsp:nvSpPr>
      <dsp:spPr>
        <a:xfrm>
          <a:off x="8451770" y="1635082"/>
          <a:ext cx="1341480" cy="2180110"/>
        </a:xfrm>
        <a:prstGeom prst="roundRect">
          <a:avLst/>
        </a:prstGeom>
        <a:solidFill>
          <a:schemeClr val="accent3">
            <a:hueOff val="33825"/>
            <a:satOff val="29784"/>
            <a:lumOff val="-526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Request ‘Move to Next Step”</a:t>
          </a:r>
        </a:p>
      </dsp:txBody>
      <dsp:txXfrm>
        <a:off x="8517256" y="1700568"/>
        <a:ext cx="1210508" cy="2049138"/>
      </dsp:txXfrm>
    </dsp:sp>
    <dsp:sp modelId="{4E2408AA-615C-4E88-9239-75E135D2A760}">
      <dsp:nvSpPr>
        <dsp:cNvPr id="0" name=""/>
        <dsp:cNvSpPr/>
      </dsp:nvSpPr>
      <dsp:spPr>
        <a:xfrm>
          <a:off x="9860324" y="1635082"/>
          <a:ext cx="1341480" cy="2180110"/>
        </a:xfrm>
        <a:prstGeom prst="roundRect">
          <a:avLst/>
        </a:prstGeom>
        <a:solidFill>
          <a:schemeClr val="accent3">
            <a:hueOff val="39463"/>
            <a:satOff val="34748"/>
            <a:lumOff val="-613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Request sent to LGFS / Funder</a:t>
          </a:r>
        </a:p>
      </dsp:txBody>
      <dsp:txXfrm>
        <a:off x="9925810" y="1700568"/>
        <a:ext cx="1210508" cy="204913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25453 6353 16383 0 0,'5'-5'0'0'0,"7"-2"0"0"0,6 1 0 0 0,5 1 0 0 0,3 1 0 0 0,3 2 0 0 0,7 1 0 0 0,1 0 0 0 0,5 1 0 0 0,0 1 0 0 0,-2-1 0 0 0,-2 0 0 0 0,-4 0 0 0 0,-2 1 0 0 0,-1-1 0 0 0,-1 0 0 0 0,-1 0 0 0 0,-5 5 0 0 0,-2 1 0 0 0,0 1 0 0 0,2-2 0 0 0,2-2 0 0 0,1 5 0 0 0,1 0 0 0 0,1-2 0 0 0,0-1 0 0 0,1-1 0 0 0,0-2 0 0 0,-1-1 0 0 0,1-1 0 0 0,-1 0 0 0 0,1 0 0 0 0,-1-1 0 0 0,1 1 0 0 0,-1 0 0 0 0,6 0 0 0 0,1-1 0 0 0,-1 1 0 0 0,0 0 0 0 0,-2 0 0 0 0,-1 0 0 0 0,3 0 0 0 0,2 0 0 0 0,-2 0 0 0 0,0 0 0 0 0,-3 0 0 0 0,0 0 0 0 0,-2 0 0 0 0,0 0 0 0 0,-1 0 0 0 0,0 0 0 0 0,0 0 0 0 0,6 0 0 0 0,0 0 0 0 0,1 0 0 0 0,-2 0 0 0 0,-1 0 0 0 0,-1 0 0 0 0,-1 0 0 0 0,-1 0 0 0 0,-1 0 0 0 0,0 0 0 0 0,0 0 0 0 0,0 0 0 0 0,1 0 0 0 0,-1 0 0 0 0,0 0 0 0 0,0 0 0 0 0,1 0 0 0 0,4 0 0 0 0,2 0 0 0 0,0 0 0 0 0,4 0 0 0 0,-1 0 0 0 0,-1 0 0 0 0,-2 0 0 0 0,-3 0 0 0 0,-1 0 0 0 0,-1 0 0 0 0,-2 0 0 0 0,0 0 0 0 0,0 0 0 0 0,0 0 0 0 0,0 0 0 0 0,0 0 0 0 0,1 0 0 0 0,-1 0 0 0 0,0 0 0 0 0,1 0 0 0 0,-1 0 0 0 0,0 0 0 0 0,1 0 0 0 0,-1 0 0 0 0,6 0 0 0 0,1 0 0 0 0,4 0 0 0 0,2 0 0 0 0,2 0 0 0 0,-1 0 0 0 0,3 0 0 0 0,-2 0 0 0 0,-9 0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25321 5821 16383 0 0,'10'0'0'0'0,"8"0"0"0"0,6 0 0 0 0,4 0 0 0 0,3 0 0 0 0,5 0 0 0 0,2 0 0 0 0,5 0 0 0 0,-1 0 0 0 0,3 0 0 0 0,-1 0 0 0 0,-3 0 0 0 0,1 0 0 0 0,-1 0 0 0 0,2 0 0 0 0,-1 0 0 0 0,8 0 0 0 0,9 0 0 0 0,1 0 0 0 0,-1 0 0 0 0,0 0 0 0 0,0 0 0 0 0,5 0 0 0 0,-3 0 0 0 0,2 0 0 0 0,-4 0 0 0 0,-2 0 0 0 0,-5 0 0 0 0,-3 0 0 0 0,-3 0 0 0 0,-1 0 0 0 0,-2 0 0 0 0,1 0 0 0 0,-1 0 0 0 0,1 0 0 0 0,-1 0 0 0 0,1 0 0 0 0,-1 0 0 0 0,2 0 0 0 0,-2 0 0 0 0,2 0 0 0 0,3 0 0 0 0,-1 0 0 0 0,-4 0 0 0 0,-4 0 0 0 0,-4 0 0 0 0,-3 0 0 0 0,4 0 0 0 0,0 0 0 0 0,4 0 0 0 0,0 0 0 0 0,4 0 0 0 0,-2 0 0 0 0,-1 0 0 0 0,-4 0 0 0 0,-3 0 0 0 0,-2 0 0 0 0,-2 0 0 0 0,-1 0 0 0 0,0 0 0 0 0,0 0 0 0 0,0 0 0 0 0,0 0 0 0 0,0 0 0 0 0,0 0 0 0 0,0 0 0 0 0,1 0 0 0 0,-1 0 0 0 0,5 0 0 0 0,3 0 0 0 0,-2 0 0 0 0,0 0 0 0 0,-2 0 0 0 0,-1 0 0 0 0,-2 0 0 0 0,0 0 0 0 0,-1 0 0 0 0,1 0 0 0 0,-1 0 0 0 0,0 0 0 0 0,0 0 0 0 0,5 5 0 0 0,2 1 0 0 0,0 1 0 0 0,-2-2 0 0 0,-1-1 0 0 0,-1 3 0 0 0,-6 6 0 0 0,-8 0 0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16087 6414 16383 0 0,'0'-5'0'0'0,"5"-2"0"0"0,6 1 0 0 0,7 0 0 0 0,15-2 0 0 0,7-1 0 0 0,7 1 0 0 0,0 3 0 0 0,7 1 0 0 0,0 2 0 0 0,0 1 0 0 0,-4 1 0 0 0,-5 0 0 0 0,-5 1 0 0 0,-5-1 0 0 0,-4 0 0 0 0,-1-4 0 0 0,-1-3 0 0 0,-1 1 0 0 0,1 1 0 0 0,4 1 0 0 0,3 2 0 0 0,-1 1 0 0 0,4 0 0 0 0,1 1 0 0 0,-2 0 0 0 0,2 1 0 0 0,6-1 0 0 0,-2 0 0 0 0,3 0 0 0 0,-2 0 0 0 0,2 0 0 0 0,-3 0 0 0 0,1 0 0 0 0,-1 0 0 0 0,1 0 0 0 0,-2 0 0 0 0,2 0 0 0 0,-2 0 0 0 0,2 0 0 0 0,-2 0 0 0 0,-3-5 0 0 0,-3-1 0 0 0,-9-1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87122D-AD04-4EF8-8B57-FC4AF5544195}" type="datetimeFigureOut">
              <a:rPr lang="en-US" smtClean="0"/>
              <a:t>6/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32D516-D011-4316-BDBE-380587301C90}" type="slidenum">
              <a:rPr lang="en-US" smtClean="0"/>
              <a:t>‹#›</a:t>
            </a:fld>
            <a:endParaRPr lang="en-US"/>
          </a:p>
        </p:txBody>
      </p:sp>
    </p:spTree>
    <p:extLst>
      <p:ext uri="{BB962C8B-B14F-4D97-AF65-F5344CB8AC3E}">
        <p14:creationId xmlns:p14="http://schemas.microsoft.com/office/powerpoint/2010/main" val="39482583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428184-D9F5-4EE2-B7DD-1A537735C67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Arial" pitchFamily="34" charset="0"/>
            </a:endParaRPr>
          </a:p>
        </p:txBody>
      </p:sp>
      <p:sp>
        <p:nvSpPr>
          <p:cNvPr id="5" name="Footer Placeholder 4">
            <a:extLst>
              <a:ext uri="{FF2B5EF4-FFF2-40B4-BE49-F238E27FC236}">
                <a16:creationId xmlns:a16="http://schemas.microsoft.com/office/drawing/2014/main" id="{736D0C96-B6A8-435C-9A03-67042D898F12}"/>
              </a:ext>
            </a:extLst>
          </p:cNvPr>
          <p:cNvSpPr>
            <a:spLocks noGrp="1"/>
          </p:cNvSpPr>
          <p:nvPr>
            <p:ph type="ftr" sz="quarter" idx="4"/>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800" b="0" i="0" u="none" strike="noStrike" kern="1200" cap="all" spc="0" normalizeH="0" baseline="0" noProof="0">
                <a:ln>
                  <a:noFill/>
                </a:ln>
                <a:solidFill>
                  <a:srgbClr val="939598"/>
                </a:solidFill>
                <a:effectLst/>
                <a:uLnTx/>
                <a:uFillTx/>
                <a:latin typeface="Arial" pitchFamily="34" charset="0"/>
                <a:ea typeface="+mn-ea"/>
                <a:cs typeface="Arial" pitchFamily="34" charset="0"/>
              </a:rPr>
              <a:t>201 LENOVO CONFIDENTIAL. All rights reserved.</a:t>
            </a:r>
            <a:endParaRPr kumimoji="0" lang="en-US" sz="800" b="0" i="0" u="none" strike="noStrike" kern="1200" cap="all" spc="0" normalizeH="0" baseline="0" noProof="0">
              <a:ln>
                <a:noFill/>
              </a:ln>
              <a:solidFill>
                <a:srgbClr val="939598"/>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351338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400"/>
              </a:lnSpc>
              <a:defRPr/>
            </a:pPr>
            <a:r>
              <a:rPr lang="en-US" sz="1200">
                <a:latin typeface="Arial" panose="020B0604020202020204" pitchFamily="34" charset="0"/>
                <a:cs typeface="Arial" panose="020B0604020202020204" pitchFamily="34" charset="0"/>
              </a:rPr>
              <a:t>Lenovo TruScale is a streamlined and customizable way to deliver hybrid infrastructure solutions to your customers. We've expanded TruScale IaaS from a consumption-based model with required services to a more flexible approach that provides more options for your customers. </a:t>
            </a:r>
          </a:p>
          <a:p>
            <a:pPr>
              <a:lnSpc>
                <a:spcPts val="1400"/>
              </a:lnSpc>
              <a:defRPr/>
            </a:pPr>
            <a:endParaRPr lang="en-US" sz="1200">
              <a:latin typeface="Arial" panose="020B0604020202020204" pitchFamily="34" charset="0"/>
              <a:cs typeface="Arial" panose="020B0604020202020204" pitchFamily="34" charset="0"/>
            </a:endParaRPr>
          </a:p>
          <a:p>
            <a:pPr>
              <a:lnSpc>
                <a:spcPts val="1400"/>
              </a:lnSpc>
              <a:defRPr/>
            </a:pPr>
            <a:r>
              <a:rPr lang="en-US" sz="1200">
                <a:latin typeface="Arial" panose="020B0604020202020204" pitchFamily="34" charset="0"/>
                <a:cs typeface="Arial" panose="020B0604020202020204" pitchFamily="34" charset="0"/>
              </a:rPr>
              <a:t>Now, in three easy steps, you can help customers select the technology, services, and financing options that best fit their needs. Channel partners are afforded greater options to deliver solutions that can be right sized to both their customers and their organization capabilities while providing incentives with every Lenovo service included.</a:t>
            </a:r>
          </a:p>
          <a:p>
            <a:pPr>
              <a:lnSpc>
                <a:spcPts val="1400"/>
              </a:lnSpc>
              <a:defRPr/>
            </a:pPr>
            <a:endParaRPr lang="en-US" sz="1200">
              <a:latin typeface="Arial" panose="020B0604020202020204" pitchFamily="34" charset="0"/>
              <a:cs typeface="Arial" panose="020B0604020202020204" pitchFamily="34" charset="0"/>
            </a:endParaRPr>
          </a:p>
          <a:p>
            <a:pPr>
              <a:lnSpc>
                <a:spcPts val="1400"/>
              </a:lnSpc>
              <a:defRPr/>
            </a:pPr>
            <a:r>
              <a:rPr lang="en-US" sz="1200">
                <a:latin typeface="Arial" panose="020B0604020202020204" pitchFamily="34" charset="0"/>
                <a:cs typeface="Arial" panose="020B0604020202020204" pitchFamily="34" charset="0"/>
              </a:rPr>
              <a:t>What’s new with TruScale IaaS? We are expanding TruScale Infrastructure as a Service (IaaS) from a consumption-based model with required services to a more flexible approach for bringing infrastructure and modular services to customers with multiple financing options. Customers can still choose to pay for what they use with a consumption-based model, however they now have increased flexibility to procure our portfolio of modular services with Lenovo TruScale predictable pricing and infrastructure financing options. The Lenovo TruScale message for your customers is now a simple 1 + 1 + 1 equation: choose your infrastructure, choose your services, choose your financing. </a:t>
            </a:r>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2808518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4.xml"/><Relationship Id="rId1" Type="http://schemas.openxmlformats.org/officeDocument/2006/relationships/tags" Target="../tags/tag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White">
    <p:spTree>
      <p:nvGrpSpPr>
        <p:cNvPr id="1" name=""/>
        <p:cNvGrpSpPr/>
        <p:nvPr/>
      </p:nvGrpSpPr>
      <p:grpSpPr>
        <a:xfrm>
          <a:off x="0" y="0"/>
          <a:ext cx="0" cy="0"/>
          <a:chOff x="0" y="0"/>
          <a:chExt cx="0" cy="0"/>
        </a:xfrm>
      </p:grpSpPr>
      <p:sp>
        <p:nvSpPr>
          <p:cNvPr id="56" name="Title 16"/>
          <p:cNvSpPr>
            <a:spLocks noGrp="1"/>
          </p:cNvSpPr>
          <p:nvPr userDrawn="1">
            <p:ph type="title" hasCustomPrompt="1"/>
          </p:nvPr>
        </p:nvSpPr>
        <p:spPr bwMode="gray">
          <a:xfrm>
            <a:off x="750529" y="1527660"/>
            <a:ext cx="9914678" cy="3269709"/>
          </a:xfrm>
          <a:prstGeom prst="rect">
            <a:avLst/>
          </a:prstGeom>
        </p:spPr>
        <p:txBody>
          <a:bodyPr wrap="square"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tx1">
                    <a:lumMod val="95000"/>
                    <a:lumOff val="5000"/>
                  </a:schemeClr>
                </a:solidFill>
                <a:latin typeface="Arial" pitchFamily="34" charset="0"/>
                <a:ea typeface="+mn-ea"/>
                <a:cs typeface="Arial" pitchFamily="34" charset="0"/>
              </a:defRPr>
            </a:lvl1pPr>
          </a:lstStyle>
          <a:p>
            <a:r>
              <a:rPr lang="en-US"/>
              <a:t>Presentation </a:t>
            </a:r>
            <a:br>
              <a:rPr lang="en-US"/>
            </a:br>
            <a:r>
              <a:rPr lang="en-US"/>
              <a:t>title here</a:t>
            </a:r>
          </a:p>
        </p:txBody>
      </p:sp>
      <p:sp>
        <p:nvSpPr>
          <p:cNvPr id="55" name="Subtitle 2"/>
          <p:cNvSpPr>
            <a:spLocks noGrp="1"/>
          </p:cNvSpPr>
          <p:nvPr userDrawn="1">
            <p:ph type="subTitle" idx="1" hasCustomPrompt="1"/>
          </p:nvPr>
        </p:nvSpPr>
        <p:spPr bwMode="gray">
          <a:xfrm>
            <a:off x="760612" y="5046115"/>
            <a:ext cx="9914678" cy="356616"/>
          </a:xfrm>
          <a:prstGeom prst="rect">
            <a:avLst/>
          </a:prstGeom>
        </p:spPr>
        <p:txBody>
          <a:bodyPr lIns="0" tIns="0" rIns="0" bIns="0" anchor="t" anchorCtr="0">
            <a:noAutofit/>
          </a:bodyPr>
          <a:lstStyle>
            <a:lvl1pPr marL="0" indent="0" algn="l" defTabSz="1218987" rtl="0" eaLnBrk="1" latinLnBrk="0" hangingPunct="1">
              <a:lnSpc>
                <a:spcPct val="90000"/>
              </a:lnSpc>
              <a:spcBef>
                <a:spcPct val="0"/>
              </a:spcBef>
              <a:buNone/>
              <a:defRPr lang="en-US" sz="2600" b="0" kern="1200" cap="none" spc="0" baseline="0" dirty="0">
                <a:solidFill>
                  <a:schemeClr val="tx1">
                    <a:lumMod val="95000"/>
                    <a:lumOff val="5000"/>
                  </a:schemeClr>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Speaker name | Date</a:t>
            </a:r>
          </a:p>
        </p:txBody>
      </p:sp>
      <p:sp>
        <p:nvSpPr>
          <p:cNvPr id="49" name="TextBox 48"/>
          <p:cNvSpPr txBox="1"/>
          <p:nvPr userDrawn="1"/>
        </p:nvSpPr>
        <p:spPr>
          <a:xfrm>
            <a:off x="750529" y="6401580"/>
            <a:ext cx="4115872" cy="153888"/>
          </a:xfrm>
          <a:prstGeom prst="rect">
            <a:avLst/>
          </a:prstGeom>
          <a:noFill/>
        </p:spPr>
        <p:txBody>
          <a:bodyPr wrap="square" lIns="0" tIns="0" rIns="0" bIns="0" rtlCol="0">
            <a:spAutoFit/>
          </a:bodyPr>
          <a:lstStyle/>
          <a:p>
            <a:r>
              <a:rPr lang="en-US" sz="1000">
                <a:solidFill>
                  <a:schemeClr val="tx1"/>
                </a:solidFill>
                <a:latin typeface="Arial" pitchFamily="34" charset="0"/>
                <a:cs typeface="Arial" pitchFamily="34" charset="0"/>
              </a:rPr>
              <a:t>2025 Lenovo Internal. All rights reserved.</a:t>
            </a:r>
          </a:p>
        </p:txBody>
      </p:sp>
      <p:grpSp>
        <p:nvGrpSpPr>
          <p:cNvPr id="14" name="Group 13">
            <a:extLst>
              <a:ext uri="{FF2B5EF4-FFF2-40B4-BE49-F238E27FC236}">
                <a16:creationId xmlns:a16="http://schemas.microsoft.com/office/drawing/2014/main" id="{DB6BD304-FAC7-4023-9B54-8984F7387559}"/>
              </a:ext>
            </a:extLst>
          </p:cNvPr>
          <p:cNvGrpSpPr>
            <a:grpSpLocks noChangeAspect="1"/>
          </p:cNvGrpSpPr>
          <p:nvPr userDrawn="1"/>
        </p:nvGrpSpPr>
        <p:grpSpPr>
          <a:xfrm rot="16200000">
            <a:off x="10152631" y="2542790"/>
            <a:ext cx="3058160" cy="1020580"/>
            <a:chOff x="547688" y="952500"/>
            <a:chExt cx="12190413" cy="4067175"/>
          </a:xfrm>
        </p:grpSpPr>
        <p:sp>
          <p:nvSpPr>
            <p:cNvPr id="15" name="Rectangle 14">
              <a:extLst>
                <a:ext uri="{FF2B5EF4-FFF2-40B4-BE49-F238E27FC236}">
                  <a16:creationId xmlns:a16="http://schemas.microsoft.com/office/drawing/2014/main" id="{1FBBDE3D-E4E2-42E5-9F26-00C1500EFD63}"/>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7">
              <a:extLst>
                <a:ext uri="{FF2B5EF4-FFF2-40B4-BE49-F238E27FC236}">
                  <a16:creationId xmlns:a16="http://schemas.microsoft.com/office/drawing/2014/main" id="{27C222CE-31C9-4AE2-A9DE-A34ECC37F011}"/>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8">
              <a:extLst>
                <a:ext uri="{FF2B5EF4-FFF2-40B4-BE49-F238E27FC236}">
                  <a16:creationId xmlns:a16="http://schemas.microsoft.com/office/drawing/2014/main" id="{710DBB3B-7FB8-4ACB-8FA4-3F2A105B9B99}"/>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9">
              <a:extLst>
                <a:ext uri="{FF2B5EF4-FFF2-40B4-BE49-F238E27FC236}">
                  <a16:creationId xmlns:a16="http://schemas.microsoft.com/office/drawing/2014/main" id="{3E443DA7-CC51-4460-98C4-193A7375074F}"/>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0">
              <a:extLst>
                <a:ext uri="{FF2B5EF4-FFF2-40B4-BE49-F238E27FC236}">
                  <a16:creationId xmlns:a16="http://schemas.microsoft.com/office/drawing/2014/main" id="{E1BCDB13-2B5A-46EC-B1D6-C526DEAA84B4}"/>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0">
              <a:extLst>
                <a:ext uri="{FF2B5EF4-FFF2-40B4-BE49-F238E27FC236}">
                  <a16:creationId xmlns:a16="http://schemas.microsoft.com/office/drawing/2014/main" id="{8EDDE8EA-BE8E-4066-AB4A-21CD2743549A}"/>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1">
              <a:extLst>
                <a:ext uri="{FF2B5EF4-FFF2-40B4-BE49-F238E27FC236}">
                  <a16:creationId xmlns:a16="http://schemas.microsoft.com/office/drawing/2014/main" id="{EF442D16-F34F-4D4E-A65A-8C3BC17F2FCE}"/>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2" name="Freeform 5">
            <a:extLst>
              <a:ext uri="{FF2B5EF4-FFF2-40B4-BE49-F238E27FC236}">
                <a16:creationId xmlns:a16="http://schemas.microsoft.com/office/drawing/2014/main" id="{B3FDD5DD-E6F7-480C-BC0C-F6AC555BF174}"/>
              </a:ext>
            </a:extLst>
          </p:cNvPr>
          <p:cNvSpPr>
            <a:spLocks noChangeAspect="1" noEditPoints="1"/>
          </p:cNvSpPr>
          <p:nvPr userDrawn="1"/>
        </p:nvSpPr>
        <p:spPr bwMode="auto">
          <a:xfrm>
            <a:off x="750529" y="762000"/>
            <a:ext cx="3942091" cy="312470"/>
          </a:xfrm>
          <a:custGeom>
            <a:avLst/>
            <a:gdLst>
              <a:gd name="T0" fmla="*/ 557 w 2065"/>
              <a:gd name="T1" fmla="*/ 102 h 161"/>
              <a:gd name="T2" fmla="*/ 510 w 2065"/>
              <a:gd name="T3" fmla="*/ 76 h 161"/>
              <a:gd name="T4" fmla="*/ 583 w 2065"/>
              <a:gd name="T5" fmla="*/ 36 h 161"/>
              <a:gd name="T6" fmla="*/ 641 w 2065"/>
              <a:gd name="T7" fmla="*/ 34 h 161"/>
              <a:gd name="T8" fmla="*/ 2038 w 2065"/>
              <a:gd name="T9" fmla="*/ 1 h 161"/>
              <a:gd name="T10" fmla="*/ 706 w 2065"/>
              <a:gd name="T11" fmla="*/ 59 h 161"/>
              <a:gd name="T12" fmla="*/ 733 w 2065"/>
              <a:gd name="T13" fmla="*/ 100 h 161"/>
              <a:gd name="T14" fmla="*/ 1999 w 2065"/>
              <a:gd name="T15" fmla="*/ 132 h 161"/>
              <a:gd name="T16" fmla="*/ 760 w 2065"/>
              <a:gd name="T17" fmla="*/ 84 h 161"/>
              <a:gd name="T18" fmla="*/ 787 w 2065"/>
              <a:gd name="T19" fmla="*/ 93 h 161"/>
              <a:gd name="T20" fmla="*/ 828 w 2065"/>
              <a:gd name="T21" fmla="*/ 76 h 161"/>
              <a:gd name="T22" fmla="*/ 133 w 2065"/>
              <a:gd name="T23" fmla="*/ 36 h 161"/>
              <a:gd name="T24" fmla="*/ 166 w 2065"/>
              <a:gd name="T25" fmla="*/ 78 h 161"/>
              <a:gd name="T26" fmla="*/ 225 w 2065"/>
              <a:gd name="T27" fmla="*/ 132 h 161"/>
              <a:gd name="T28" fmla="*/ 32 w 2065"/>
              <a:gd name="T29" fmla="*/ 40 h 161"/>
              <a:gd name="T30" fmla="*/ 5 w 2065"/>
              <a:gd name="T31" fmla="*/ 43 h 161"/>
              <a:gd name="T32" fmla="*/ 0 w 2065"/>
              <a:gd name="T33" fmla="*/ 114 h 161"/>
              <a:gd name="T34" fmla="*/ 266 w 2065"/>
              <a:gd name="T35" fmla="*/ 43 h 161"/>
              <a:gd name="T36" fmla="*/ 258 w 2065"/>
              <a:gd name="T37" fmla="*/ 104 h 161"/>
              <a:gd name="T38" fmla="*/ 347 w 2065"/>
              <a:gd name="T39" fmla="*/ 76 h 161"/>
              <a:gd name="T40" fmla="*/ 285 w 2065"/>
              <a:gd name="T41" fmla="*/ 103 h 161"/>
              <a:gd name="T42" fmla="*/ 429 w 2065"/>
              <a:gd name="T43" fmla="*/ 36 h 161"/>
              <a:gd name="T44" fmla="*/ 479 w 2065"/>
              <a:gd name="T45" fmla="*/ 128 h 161"/>
              <a:gd name="T46" fmla="*/ 479 w 2065"/>
              <a:gd name="T47" fmla="*/ 36 h 161"/>
              <a:gd name="T48" fmla="*/ 354 w 2065"/>
              <a:gd name="T49" fmla="*/ 132 h 161"/>
              <a:gd name="T50" fmla="*/ 382 w 2065"/>
              <a:gd name="T51" fmla="*/ 55 h 161"/>
              <a:gd name="T52" fmla="*/ 1387 w 2065"/>
              <a:gd name="T53" fmla="*/ 84 h 161"/>
              <a:gd name="T54" fmla="*/ 1335 w 2065"/>
              <a:gd name="T55" fmla="*/ 58 h 161"/>
              <a:gd name="T56" fmla="*/ 1834 w 2065"/>
              <a:gd name="T57" fmla="*/ 132 h 161"/>
              <a:gd name="T58" fmla="*/ 1748 w 2065"/>
              <a:gd name="T59" fmla="*/ 34 h 161"/>
              <a:gd name="T60" fmla="*/ 1748 w 2065"/>
              <a:gd name="T61" fmla="*/ 34 h 161"/>
              <a:gd name="T62" fmla="*/ 1773 w 2065"/>
              <a:gd name="T63" fmla="*/ 84 h 161"/>
              <a:gd name="T64" fmla="*/ 1465 w 2065"/>
              <a:gd name="T65" fmla="*/ 109 h 161"/>
              <a:gd name="T66" fmla="*/ 1480 w 2065"/>
              <a:gd name="T67" fmla="*/ 148 h 161"/>
              <a:gd name="T68" fmla="*/ 1442 w 2065"/>
              <a:gd name="T69" fmla="*/ 102 h 161"/>
              <a:gd name="T70" fmla="*/ 1675 w 2065"/>
              <a:gd name="T71" fmla="*/ 37 h 161"/>
              <a:gd name="T72" fmla="*/ 1655 w 2065"/>
              <a:gd name="T73" fmla="*/ 7 h 161"/>
              <a:gd name="T74" fmla="*/ 1648 w 2065"/>
              <a:gd name="T75" fmla="*/ 132 h 161"/>
              <a:gd name="T76" fmla="*/ 1526 w 2065"/>
              <a:gd name="T77" fmla="*/ 36 h 161"/>
              <a:gd name="T78" fmla="*/ 1528 w 2065"/>
              <a:gd name="T79" fmla="*/ 161 h 161"/>
              <a:gd name="T80" fmla="*/ 980 w 2065"/>
              <a:gd name="T81" fmla="*/ 49 h 161"/>
              <a:gd name="T82" fmla="*/ 997 w 2065"/>
              <a:gd name="T83" fmla="*/ 59 h 161"/>
              <a:gd name="T84" fmla="*/ 1250 w 2065"/>
              <a:gd name="T85" fmla="*/ 132 h 161"/>
              <a:gd name="T86" fmla="*/ 1075 w 2065"/>
              <a:gd name="T87" fmla="*/ 49 h 161"/>
              <a:gd name="T88" fmla="*/ 1092 w 2065"/>
              <a:gd name="T89" fmla="*/ 59 h 161"/>
              <a:gd name="T90" fmla="*/ 910 w 2065"/>
              <a:gd name="T91" fmla="*/ 111 h 161"/>
              <a:gd name="T92" fmla="*/ 909 w 2065"/>
              <a:gd name="T93" fmla="*/ 34 h 161"/>
              <a:gd name="T94" fmla="*/ 910 w 2065"/>
              <a:gd name="T95" fmla="*/ 111 h 161"/>
              <a:gd name="T96" fmla="*/ 1962 w 2065"/>
              <a:gd name="T97" fmla="*/ 77 h 161"/>
              <a:gd name="T98" fmla="*/ 1962 w 2065"/>
              <a:gd name="T99" fmla="*/ 132 h 161"/>
              <a:gd name="T100" fmla="*/ 1941 w 2065"/>
              <a:gd name="T101" fmla="*/ 115 h 161"/>
              <a:gd name="T102" fmla="*/ 1193 w 2065"/>
              <a:gd name="T103" fmla="*/ 34 h 161"/>
              <a:gd name="T104" fmla="*/ 1193 w 2065"/>
              <a:gd name="T105" fmla="*/ 34 h 161"/>
              <a:gd name="T106" fmla="*/ 1218 w 2065"/>
              <a:gd name="T107"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5" h="161">
                <a:moveTo>
                  <a:pt x="530" y="34"/>
                </a:moveTo>
                <a:cubicBezTo>
                  <a:pt x="502" y="34"/>
                  <a:pt x="483" y="57"/>
                  <a:pt x="483" y="84"/>
                </a:cubicBezTo>
                <a:cubicBezTo>
                  <a:pt x="483" y="84"/>
                  <a:pt x="483" y="84"/>
                  <a:pt x="483" y="84"/>
                </a:cubicBezTo>
                <a:cubicBezTo>
                  <a:pt x="483" y="114"/>
                  <a:pt x="504" y="134"/>
                  <a:pt x="533" y="134"/>
                </a:cubicBezTo>
                <a:cubicBezTo>
                  <a:pt x="551" y="134"/>
                  <a:pt x="563" y="127"/>
                  <a:pt x="572" y="116"/>
                </a:cubicBezTo>
                <a:cubicBezTo>
                  <a:pt x="557" y="102"/>
                  <a:pt x="557" y="102"/>
                  <a:pt x="557" y="102"/>
                </a:cubicBezTo>
                <a:cubicBezTo>
                  <a:pt x="549" y="109"/>
                  <a:pt x="543" y="112"/>
                  <a:pt x="533" y="112"/>
                </a:cubicBezTo>
                <a:cubicBezTo>
                  <a:pt x="521" y="112"/>
                  <a:pt x="513" y="106"/>
                  <a:pt x="510" y="93"/>
                </a:cubicBezTo>
                <a:cubicBezTo>
                  <a:pt x="577" y="93"/>
                  <a:pt x="577" y="93"/>
                  <a:pt x="577" y="93"/>
                </a:cubicBezTo>
                <a:cubicBezTo>
                  <a:pt x="577" y="91"/>
                  <a:pt x="577" y="88"/>
                  <a:pt x="577" y="86"/>
                </a:cubicBezTo>
                <a:cubicBezTo>
                  <a:pt x="577" y="59"/>
                  <a:pt x="563" y="34"/>
                  <a:pt x="530" y="34"/>
                </a:cubicBezTo>
                <a:close/>
                <a:moveTo>
                  <a:pt x="510" y="76"/>
                </a:moveTo>
                <a:cubicBezTo>
                  <a:pt x="512" y="64"/>
                  <a:pt x="519" y="56"/>
                  <a:pt x="530" y="56"/>
                </a:cubicBezTo>
                <a:cubicBezTo>
                  <a:pt x="542" y="56"/>
                  <a:pt x="549" y="64"/>
                  <a:pt x="551" y="76"/>
                </a:cubicBezTo>
                <a:lnTo>
                  <a:pt x="510" y="76"/>
                </a:lnTo>
                <a:close/>
                <a:moveTo>
                  <a:pt x="610" y="55"/>
                </a:moveTo>
                <a:cubicBezTo>
                  <a:pt x="610" y="36"/>
                  <a:pt x="610" y="36"/>
                  <a:pt x="610" y="36"/>
                </a:cubicBezTo>
                <a:cubicBezTo>
                  <a:pt x="583" y="36"/>
                  <a:pt x="583" y="36"/>
                  <a:pt x="583" y="36"/>
                </a:cubicBezTo>
                <a:cubicBezTo>
                  <a:pt x="583" y="132"/>
                  <a:pt x="583" y="132"/>
                  <a:pt x="583" y="132"/>
                </a:cubicBezTo>
                <a:cubicBezTo>
                  <a:pt x="610" y="132"/>
                  <a:pt x="610" y="132"/>
                  <a:pt x="610" y="132"/>
                </a:cubicBezTo>
                <a:cubicBezTo>
                  <a:pt x="610" y="97"/>
                  <a:pt x="610" y="97"/>
                  <a:pt x="610" y="97"/>
                </a:cubicBezTo>
                <a:cubicBezTo>
                  <a:pt x="610" y="74"/>
                  <a:pt x="621" y="63"/>
                  <a:pt x="640" y="63"/>
                </a:cubicBezTo>
                <a:cubicBezTo>
                  <a:pt x="641" y="63"/>
                  <a:pt x="641" y="63"/>
                  <a:pt x="641" y="63"/>
                </a:cubicBezTo>
                <a:cubicBezTo>
                  <a:pt x="641" y="34"/>
                  <a:pt x="641" y="34"/>
                  <a:pt x="641" y="34"/>
                </a:cubicBezTo>
                <a:cubicBezTo>
                  <a:pt x="625" y="33"/>
                  <a:pt x="616" y="42"/>
                  <a:pt x="610" y="55"/>
                </a:cubicBezTo>
                <a:close/>
                <a:moveTo>
                  <a:pt x="2038" y="1"/>
                </a:moveTo>
                <a:cubicBezTo>
                  <a:pt x="2038" y="132"/>
                  <a:pt x="2038" y="132"/>
                  <a:pt x="2038" y="132"/>
                </a:cubicBezTo>
                <a:cubicBezTo>
                  <a:pt x="2065" y="132"/>
                  <a:pt x="2065" y="132"/>
                  <a:pt x="2065" y="132"/>
                </a:cubicBezTo>
                <a:cubicBezTo>
                  <a:pt x="2065" y="1"/>
                  <a:pt x="2065" y="1"/>
                  <a:pt x="2065" y="1"/>
                </a:cubicBezTo>
                <a:lnTo>
                  <a:pt x="2038" y="1"/>
                </a:lnTo>
                <a:close/>
                <a:moveTo>
                  <a:pt x="733" y="11"/>
                </a:moveTo>
                <a:cubicBezTo>
                  <a:pt x="706" y="11"/>
                  <a:pt x="706" y="11"/>
                  <a:pt x="706" y="11"/>
                </a:cubicBezTo>
                <a:cubicBezTo>
                  <a:pt x="706" y="36"/>
                  <a:pt x="706" y="36"/>
                  <a:pt x="706" y="36"/>
                </a:cubicBezTo>
                <a:cubicBezTo>
                  <a:pt x="694" y="36"/>
                  <a:pt x="694" y="36"/>
                  <a:pt x="694" y="36"/>
                </a:cubicBezTo>
                <a:cubicBezTo>
                  <a:pt x="694" y="59"/>
                  <a:pt x="694" y="59"/>
                  <a:pt x="694" y="59"/>
                </a:cubicBezTo>
                <a:cubicBezTo>
                  <a:pt x="706" y="59"/>
                  <a:pt x="706" y="59"/>
                  <a:pt x="706" y="59"/>
                </a:cubicBezTo>
                <a:cubicBezTo>
                  <a:pt x="706" y="105"/>
                  <a:pt x="706" y="105"/>
                  <a:pt x="706" y="105"/>
                </a:cubicBezTo>
                <a:cubicBezTo>
                  <a:pt x="706" y="127"/>
                  <a:pt x="717" y="134"/>
                  <a:pt x="734" y="134"/>
                </a:cubicBezTo>
                <a:cubicBezTo>
                  <a:pt x="743" y="134"/>
                  <a:pt x="750" y="132"/>
                  <a:pt x="755" y="128"/>
                </a:cubicBezTo>
                <a:cubicBezTo>
                  <a:pt x="755" y="106"/>
                  <a:pt x="755" y="106"/>
                  <a:pt x="755" y="106"/>
                </a:cubicBezTo>
                <a:cubicBezTo>
                  <a:pt x="752" y="108"/>
                  <a:pt x="747" y="110"/>
                  <a:pt x="742" y="110"/>
                </a:cubicBezTo>
                <a:cubicBezTo>
                  <a:pt x="736" y="110"/>
                  <a:pt x="733" y="107"/>
                  <a:pt x="733" y="100"/>
                </a:cubicBezTo>
                <a:cubicBezTo>
                  <a:pt x="733" y="59"/>
                  <a:pt x="733" y="59"/>
                  <a:pt x="733" y="59"/>
                </a:cubicBezTo>
                <a:cubicBezTo>
                  <a:pt x="756" y="59"/>
                  <a:pt x="756" y="59"/>
                  <a:pt x="756" y="59"/>
                </a:cubicBezTo>
                <a:cubicBezTo>
                  <a:pt x="756" y="36"/>
                  <a:pt x="756" y="36"/>
                  <a:pt x="756" y="36"/>
                </a:cubicBezTo>
                <a:cubicBezTo>
                  <a:pt x="733" y="36"/>
                  <a:pt x="733" y="36"/>
                  <a:pt x="733" y="36"/>
                </a:cubicBezTo>
                <a:lnTo>
                  <a:pt x="733" y="11"/>
                </a:lnTo>
                <a:close/>
                <a:moveTo>
                  <a:pt x="1999" y="132"/>
                </a:moveTo>
                <a:cubicBezTo>
                  <a:pt x="2027" y="132"/>
                  <a:pt x="2027" y="132"/>
                  <a:pt x="2027" y="132"/>
                </a:cubicBezTo>
                <a:cubicBezTo>
                  <a:pt x="2027" y="1"/>
                  <a:pt x="2027" y="1"/>
                  <a:pt x="2027" y="1"/>
                </a:cubicBezTo>
                <a:cubicBezTo>
                  <a:pt x="1999" y="1"/>
                  <a:pt x="1999" y="1"/>
                  <a:pt x="1999" y="1"/>
                </a:cubicBezTo>
                <a:lnTo>
                  <a:pt x="1999" y="132"/>
                </a:lnTo>
                <a:close/>
                <a:moveTo>
                  <a:pt x="807" y="34"/>
                </a:moveTo>
                <a:cubicBezTo>
                  <a:pt x="779" y="34"/>
                  <a:pt x="760" y="57"/>
                  <a:pt x="760" y="84"/>
                </a:cubicBezTo>
                <a:cubicBezTo>
                  <a:pt x="760" y="84"/>
                  <a:pt x="760" y="84"/>
                  <a:pt x="760" y="84"/>
                </a:cubicBezTo>
                <a:cubicBezTo>
                  <a:pt x="760" y="114"/>
                  <a:pt x="781" y="134"/>
                  <a:pt x="810" y="134"/>
                </a:cubicBezTo>
                <a:cubicBezTo>
                  <a:pt x="827" y="134"/>
                  <a:pt x="840" y="127"/>
                  <a:pt x="849" y="116"/>
                </a:cubicBezTo>
                <a:cubicBezTo>
                  <a:pt x="834" y="102"/>
                  <a:pt x="834" y="102"/>
                  <a:pt x="834" y="102"/>
                </a:cubicBezTo>
                <a:cubicBezTo>
                  <a:pt x="826" y="109"/>
                  <a:pt x="820" y="112"/>
                  <a:pt x="810" y="112"/>
                </a:cubicBezTo>
                <a:cubicBezTo>
                  <a:pt x="798" y="112"/>
                  <a:pt x="790" y="106"/>
                  <a:pt x="787" y="93"/>
                </a:cubicBezTo>
                <a:cubicBezTo>
                  <a:pt x="854" y="93"/>
                  <a:pt x="854" y="93"/>
                  <a:pt x="854" y="93"/>
                </a:cubicBezTo>
                <a:cubicBezTo>
                  <a:pt x="854" y="91"/>
                  <a:pt x="854" y="88"/>
                  <a:pt x="854" y="86"/>
                </a:cubicBezTo>
                <a:cubicBezTo>
                  <a:pt x="854" y="59"/>
                  <a:pt x="839" y="34"/>
                  <a:pt x="807" y="34"/>
                </a:cubicBezTo>
                <a:close/>
                <a:moveTo>
                  <a:pt x="787" y="76"/>
                </a:moveTo>
                <a:cubicBezTo>
                  <a:pt x="789" y="64"/>
                  <a:pt x="796" y="56"/>
                  <a:pt x="807" y="56"/>
                </a:cubicBezTo>
                <a:cubicBezTo>
                  <a:pt x="819" y="56"/>
                  <a:pt x="826" y="64"/>
                  <a:pt x="828" y="76"/>
                </a:cubicBezTo>
                <a:lnTo>
                  <a:pt x="787" y="76"/>
                </a:lnTo>
                <a:close/>
                <a:moveTo>
                  <a:pt x="220" y="34"/>
                </a:moveTo>
                <a:cubicBezTo>
                  <a:pt x="207" y="34"/>
                  <a:pt x="197" y="39"/>
                  <a:pt x="189" y="49"/>
                </a:cubicBezTo>
                <a:cubicBezTo>
                  <a:pt x="184" y="40"/>
                  <a:pt x="174" y="34"/>
                  <a:pt x="161" y="34"/>
                </a:cubicBezTo>
                <a:cubicBezTo>
                  <a:pt x="148" y="34"/>
                  <a:pt x="139" y="41"/>
                  <a:pt x="133" y="50"/>
                </a:cubicBezTo>
                <a:cubicBezTo>
                  <a:pt x="133" y="36"/>
                  <a:pt x="133" y="36"/>
                  <a:pt x="133" y="36"/>
                </a:cubicBezTo>
                <a:cubicBezTo>
                  <a:pt x="106" y="36"/>
                  <a:pt x="106" y="36"/>
                  <a:pt x="106" y="36"/>
                </a:cubicBezTo>
                <a:cubicBezTo>
                  <a:pt x="106" y="132"/>
                  <a:pt x="106" y="132"/>
                  <a:pt x="106" y="132"/>
                </a:cubicBezTo>
                <a:cubicBezTo>
                  <a:pt x="133" y="132"/>
                  <a:pt x="133" y="132"/>
                  <a:pt x="133" y="132"/>
                </a:cubicBezTo>
                <a:cubicBezTo>
                  <a:pt x="133" y="78"/>
                  <a:pt x="133" y="78"/>
                  <a:pt x="133" y="78"/>
                </a:cubicBezTo>
                <a:cubicBezTo>
                  <a:pt x="133" y="65"/>
                  <a:pt x="139" y="59"/>
                  <a:pt x="150" y="59"/>
                </a:cubicBezTo>
                <a:cubicBezTo>
                  <a:pt x="160" y="59"/>
                  <a:pt x="166" y="65"/>
                  <a:pt x="166" y="78"/>
                </a:cubicBezTo>
                <a:cubicBezTo>
                  <a:pt x="166" y="132"/>
                  <a:pt x="166" y="132"/>
                  <a:pt x="166" y="132"/>
                </a:cubicBezTo>
                <a:cubicBezTo>
                  <a:pt x="193" y="132"/>
                  <a:pt x="193" y="132"/>
                  <a:pt x="193" y="132"/>
                </a:cubicBezTo>
                <a:cubicBezTo>
                  <a:pt x="193" y="78"/>
                  <a:pt x="193" y="78"/>
                  <a:pt x="193" y="78"/>
                </a:cubicBezTo>
                <a:cubicBezTo>
                  <a:pt x="193" y="65"/>
                  <a:pt x="199" y="59"/>
                  <a:pt x="209" y="59"/>
                </a:cubicBezTo>
                <a:cubicBezTo>
                  <a:pt x="220" y="59"/>
                  <a:pt x="225" y="65"/>
                  <a:pt x="225" y="78"/>
                </a:cubicBezTo>
                <a:cubicBezTo>
                  <a:pt x="225" y="132"/>
                  <a:pt x="225" y="132"/>
                  <a:pt x="225" y="132"/>
                </a:cubicBezTo>
                <a:cubicBezTo>
                  <a:pt x="253" y="132"/>
                  <a:pt x="253" y="132"/>
                  <a:pt x="253" y="132"/>
                </a:cubicBezTo>
                <a:cubicBezTo>
                  <a:pt x="253" y="69"/>
                  <a:pt x="253" y="69"/>
                  <a:pt x="253" y="69"/>
                </a:cubicBezTo>
                <a:cubicBezTo>
                  <a:pt x="253" y="46"/>
                  <a:pt x="240" y="34"/>
                  <a:pt x="220" y="34"/>
                </a:cubicBezTo>
                <a:close/>
                <a:moveTo>
                  <a:pt x="59" y="57"/>
                </a:moveTo>
                <a:cubicBezTo>
                  <a:pt x="38" y="51"/>
                  <a:pt x="32" y="49"/>
                  <a:pt x="32" y="40"/>
                </a:cubicBezTo>
                <a:cubicBezTo>
                  <a:pt x="32" y="40"/>
                  <a:pt x="32" y="40"/>
                  <a:pt x="32" y="40"/>
                </a:cubicBezTo>
                <a:cubicBezTo>
                  <a:pt x="32" y="34"/>
                  <a:pt x="38" y="29"/>
                  <a:pt x="48" y="29"/>
                </a:cubicBezTo>
                <a:cubicBezTo>
                  <a:pt x="59" y="29"/>
                  <a:pt x="70" y="34"/>
                  <a:pt x="81" y="41"/>
                </a:cubicBezTo>
                <a:cubicBezTo>
                  <a:pt x="95" y="21"/>
                  <a:pt x="95" y="21"/>
                  <a:pt x="95" y="21"/>
                </a:cubicBezTo>
                <a:cubicBezTo>
                  <a:pt x="83" y="10"/>
                  <a:pt x="67" y="5"/>
                  <a:pt x="49" y="5"/>
                </a:cubicBezTo>
                <a:cubicBezTo>
                  <a:pt x="23" y="5"/>
                  <a:pt x="5" y="20"/>
                  <a:pt x="5" y="43"/>
                </a:cubicBezTo>
                <a:cubicBezTo>
                  <a:pt x="5" y="43"/>
                  <a:pt x="5" y="43"/>
                  <a:pt x="5" y="43"/>
                </a:cubicBezTo>
                <a:cubicBezTo>
                  <a:pt x="5" y="68"/>
                  <a:pt x="21" y="75"/>
                  <a:pt x="46" y="81"/>
                </a:cubicBezTo>
                <a:cubicBezTo>
                  <a:pt x="67" y="87"/>
                  <a:pt x="72" y="90"/>
                  <a:pt x="72" y="97"/>
                </a:cubicBezTo>
                <a:cubicBezTo>
                  <a:pt x="72" y="98"/>
                  <a:pt x="72" y="98"/>
                  <a:pt x="72" y="98"/>
                </a:cubicBezTo>
                <a:cubicBezTo>
                  <a:pt x="72" y="105"/>
                  <a:pt x="65" y="109"/>
                  <a:pt x="54" y="109"/>
                </a:cubicBezTo>
                <a:cubicBezTo>
                  <a:pt x="39" y="109"/>
                  <a:pt x="27" y="104"/>
                  <a:pt x="16" y="94"/>
                </a:cubicBezTo>
                <a:cubicBezTo>
                  <a:pt x="0" y="114"/>
                  <a:pt x="0" y="114"/>
                  <a:pt x="0" y="114"/>
                </a:cubicBezTo>
                <a:cubicBezTo>
                  <a:pt x="15" y="127"/>
                  <a:pt x="34" y="134"/>
                  <a:pt x="53" y="134"/>
                </a:cubicBezTo>
                <a:cubicBezTo>
                  <a:pt x="80" y="134"/>
                  <a:pt x="99" y="120"/>
                  <a:pt x="99" y="95"/>
                </a:cubicBezTo>
                <a:cubicBezTo>
                  <a:pt x="99" y="95"/>
                  <a:pt x="99" y="95"/>
                  <a:pt x="99" y="95"/>
                </a:cubicBezTo>
                <a:cubicBezTo>
                  <a:pt x="99" y="73"/>
                  <a:pt x="85" y="63"/>
                  <a:pt x="59" y="57"/>
                </a:cubicBezTo>
                <a:close/>
                <a:moveTo>
                  <a:pt x="304" y="35"/>
                </a:moveTo>
                <a:cubicBezTo>
                  <a:pt x="287" y="35"/>
                  <a:pt x="277" y="38"/>
                  <a:pt x="266" y="43"/>
                </a:cubicBezTo>
                <a:cubicBezTo>
                  <a:pt x="273" y="63"/>
                  <a:pt x="273" y="63"/>
                  <a:pt x="273" y="63"/>
                </a:cubicBezTo>
                <a:cubicBezTo>
                  <a:pt x="282" y="60"/>
                  <a:pt x="289" y="58"/>
                  <a:pt x="300" y="58"/>
                </a:cubicBezTo>
                <a:cubicBezTo>
                  <a:pt x="313" y="58"/>
                  <a:pt x="320" y="64"/>
                  <a:pt x="320" y="76"/>
                </a:cubicBezTo>
                <a:cubicBezTo>
                  <a:pt x="320" y="77"/>
                  <a:pt x="320" y="77"/>
                  <a:pt x="320" y="77"/>
                </a:cubicBezTo>
                <a:cubicBezTo>
                  <a:pt x="314" y="75"/>
                  <a:pt x="307" y="73"/>
                  <a:pt x="297" y="73"/>
                </a:cubicBezTo>
                <a:cubicBezTo>
                  <a:pt x="274" y="73"/>
                  <a:pt x="258" y="83"/>
                  <a:pt x="258" y="104"/>
                </a:cubicBezTo>
                <a:cubicBezTo>
                  <a:pt x="258" y="104"/>
                  <a:pt x="258" y="104"/>
                  <a:pt x="258" y="104"/>
                </a:cubicBezTo>
                <a:cubicBezTo>
                  <a:pt x="258" y="123"/>
                  <a:pt x="273" y="134"/>
                  <a:pt x="291" y="134"/>
                </a:cubicBezTo>
                <a:cubicBezTo>
                  <a:pt x="304" y="134"/>
                  <a:pt x="314" y="129"/>
                  <a:pt x="320" y="122"/>
                </a:cubicBezTo>
                <a:cubicBezTo>
                  <a:pt x="320" y="132"/>
                  <a:pt x="320" y="132"/>
                  <a:pt x="320" y="132"/>
                </a:cubicBezTo>
                <a:cubicBezTo>
                  <a:pt x="347" y="132"/>
                  <a:pt x="347" y="132"/>
                  <a:pt x="347" y="132"/>
                </a:cubicBezTo>
                <a:cubicBezTo>
                  <a:pt x="347" y="76"/>
                  <a:pt x="347" y="76"/>
                  <a:pt x="347" y="76"/>
                </a:cubicBezTo>
                <a:cubicBezTo>
                  <a:pt x="347" y="63"/>
                  <a:pt x="343" y="53"/>
                  <a:pt x="336" y="46"/>
                </a:cubicBezTo>
                <a:cubicBezTo>
                  <a:pt x="329" y="39"/>
                  <a:pt x="319" y="35"/>
                  <a:pt x="304" y="35"/>
                </a:cubicBezTo>
                <a:close/>
                <a:moveTo>
                  <a:pt x="321" y="98"/>
                </a:moveTo>
                <a:cubicBezTo>
                  <a:pt x="321" y="108"/>
                  <a:pt x="312" y="115"/>
                  <a:pt x="299" y="115"/>
                </a:cubicBezTo>
                <a:cubicBezTo>
                  <a:pt x="291" y="115"/>
                  <a:pt x="285" y="111"/>
                  <a:pt x="285" y="103"/>
                </a:cubicBezTo>
                <a:cubicBezTo>
                  <a:pt x="285" y="103"/>
                  <a:pt x="285" y="103"/>
                  <a:pt x="285" y="103"/>
                </a:cubicBezTo>
                <a:cubicBezTo>
                  <a:pt x="285" y="94"/>
                  <a:pt x="292" y="90"/>
                  <a:pt x="303" y="90"/>
                </a:cubicBezTo>
                <a:cubicBezTo>
                  <a:pt x="310" y="90"/>
                  <a:pt x="316" y="91"/>
                  <a:pt x="321" y="93"/>
                </a:cubicBezTo>
                <a:lnTo>
                  <a:pt x="321" y="98"/>
                </a:lnTo>
                <a:close/>
                <a:moveTo>
                  <a:pt x="457" y="11"/>
                </a:moveTo>
                <a:cubicBezTo>
                  <a:pt x="429" y="11"/>
                  <a:pt x="429" y="11"/>
                  <a:pt x="429" y="11"/>
                </a:cubicBezTo>
                <a:cubicBezTo>
                  <a:pt x="429" y="36"/>
                  <a:pt x="429" y="36"/>
                  <a:pt x="429" y="36"/>
                </a:cubicBezTo>
                <a:cubicBezTo>
                  <a:pt x="418" y="36"/>
                  <a:pt x="418" y="36"/>
                  <a:pt x="418" y="36"/>
                </a:cubicBezTo>
                <a:cubicBezTo>
                  <a:pt x="418" y="59"/>
                  <a:pt x="418" y="59"/>
                  <a:pt x="418" y="59"/>
                </a:cubicBezTo>
                <a:cubicBezTo>
                  <a:pt x="429" y="59"/>
                  <a:pt x="429" y="59"/>
                  <a:pt x="429" y="59"/>
                </a:cubicBezTo>
                <a:cubicBezTo>
                  <a:pt x="429" y="105"/>
                  <a:pt x="429" y="105"/>
                  <a:pt x="429" y="105"/>
                </a:cubicBezTo>
                <a:cubicBezTo>
                  <a:pt x="429" y="127"/>
                  <a:pt x="441" y="134"/>
                  <a:pt x="457" y="134"/>
                </a:cubicBezTo>
                <a:cubicBezTo>
                  <a:pt x="466" y="134"/>
                  <a:pt x="473" y="132"/>
                  <a:pt x="479" y="128"/>
                </a:cubicBezTo>
                <a:cubicBezTo>
                  <a:pt x="479" y="106"/>
                  <a:pt x="479" y="106"/>
                  <a:pt x="479" y="106"/>
                </a:cubicBezTo>
                <a:cubicBezTo>
                  <a:pt x="475" y="108"/>
                  <a:pt x="470" y="110"/>
                  <a:pt x="465" y="110"/>
                </a:cubicBezTo>
                <a:cubicBezTo>
                  <a:pt x="459" y="110"/>
                  <a:pt x="457" y="107"/>
                  <a:pt x="457" y="100"/>
                </a:cubicBezTo>
                <a:cubicBezTo>
                  <a:pt x="457" y="59"/>
                  <a:pt x="457" y="59"/>
                  <a:pt x="457" y="59"/>
                </a:cubicBezTo>
                <a:cubicBezTo>
                  <a:pt x="479" y="59"/>
                  <a:pt x="479" y="59"/>
                  <a:pt x="479" y="59"/>
                </a:cubicBezTo>
                <a:cubicBezTo>
                  <a:pt x="479" y="36"/>
                  <a:pt x="479" y="36"/>
                  <a:pt x="479" y="36"/>
                </a:cubicBezTo>
                <a:cubicBezTo>
                  <a:pt x="457" y="36"/>
                  <a:pt x="457" y="36"/>
                  <a:pt x="457" y="36"/>
                </a:cubicBezTo>
                <a:lnTo>
                  <a:pt x="457" y="11"/>
                </a:lnTo>
                <a:close/>
                <a:moveTo>
                  <a:pt x="382" y="55"/>
                </a:moveTo>
                <a:cubicBezTo>
                  <a:pt x="382" y="36"/>
                  <a:pt x="382" y="36"/>
                  <a:pt x="382" y="36"/>
                </a:cubicBezTo>
                <a:cubicBezTo>
                  <a:pt x="354" y="36"/>
                  <a:pt x="354" y="36"/>
                  <a:pt x="354" y="36"/>
                </a:cubicBezTo>
                <a:cubicBezTo>
                  <a:pt x="354" y="132"/>
                  <a:pt x="354" y="132"/>
                  <a:pt x="354" y="132"/>
                </a:cubicBezTo>
                <a:cubicBezTo>
                  <a:pt x="382" y="132"/>
                  <a:pt x="382" y="132"/>
                  <a:pt x="382" y="132"/>
                </a:cubicBezTo>
                <a:cubicBezTo>
                  <a:pt x="382" y="97"/>
                  <a:pt x="382" y="97"/>
                  <a:pt x="382" y="97"/>
                </a:cubicBezTo>
                <a:cubicBezTo>
                  <a:pt x="382" y="74"/>
                  <a:pt x="393" y="63"/>
                  <a:pt x="411" y="63"/>
                </a:cubicBezTo>
                <a:cubicBezTo>
                  <a:pt x="412" y="63"/>
                  <a:pt x="412" y="63"/>
                  <a:pt x="412" y="63"/>
                </a:cubicBezTo>
                <a:cubicBezTo>
                  <a:pt x="412" y="34"/>
                  <a:pt x="412" y="34"/>
                  <a:pt x="412" y="34"/>
                </a:cubicBezTo>
                <a:cubicBezTo>
                  <a:pt x="396" y="33"/>
                  <a:pt x="387" y="42"/>
                  <a:pt x="382" y="55"/>
                </a:cubicBezTo>
                <a:close/>
                <a:moveTo>
                  <a:pt x="1335" y="34"/>
                </a:moveTo>
                <a:cubicBezTo>
                  <a:pt x="1305" y="34"/>
                  <a:pt x="1283" y="56"/>
                  <a:pt x="1283" y="84"/>
                </a:cubicBezTo>
                <a:cubicBezTo>
                  <a:pt x="1283" y="84"/>
                  <a:pt x="1283" y="84"/>
                  <a:pt x="1283" y="84"/>
                </a:cubicBezTo>
                <a:cubicBezTo>
                  <a:pt x="1283" y="112"/>
                  <a:pt x="1305" y="134"/>
                  <a:pt x="1335" y="134"/>
                </a:cubicBezTo>
                <a:cubicBezTo>
                  <a:pt x="1365" y="134"/>
                  <a:pt x="1387" y="112"/>
                  <a:pt x="1387" y="84"/>
                </a:cubicBezTo>
                <a:cubicBezTo>
                  <a:pt x="1387" y="84"/>
                  <a:pt x="1387" y="84"/>
                  <a:pt x="1387" y="84"/>
                </a:cubicBezTo>
                <a:cubicBezTo>
                  <a:pt x="1387" y="56"/>
                  <a:pt x="1365" y="34"/>
                  <a:pt x="1335" y="34"/>
                </a:cubicBezTo>
                <a:close/>
                <a:moveTo>
                  <a:pt x="1360" y="84"/>
                </a:moveTo>
                <a:cubicBezTo>
                  <a:pt x="1360" y="99"/>
                  <a:pt x="1351" y="111"/>
                  <a:pt x="1335" y="111"/>
                </a:cubicBezTo>
                <a:cubicBezTo>
                  <a:pt x="1320" y="111"/>
                  <a:pt x="1310" y="98"/>
                  <a:pt x="1310" y="84"/>
                </a:cubicBezTo>
                <a:cubicBezTo>
                  <a:pt x="1310" y="84"/>
                  <a:pt x="1310" y="84"/>
                  <a:pt x="1310" y="84"/>
                </a:cubicBezTo>
                <a:cubicBezTo>
                  <a:pt x="1310" y="70"/>
                  <a:pt x="1319" y="58"/>
                  <a:pt x="1335" y="58"/>
                </a:cubicBezTo>
                <a:cubicBezTo>
                  <a:pt x="1350" y="58"/>
                  <a:pt x="1360" y="70"/>
                  <a:pt x="1360" y="84"/>
                </a:cubicBezTo>
                <a:close/>
                <a:moveTo>
                  <a:pt x="1834" y="55"/>
                </a:moveTo>
                <a:cubicBezTo>
                  <a:pt x="1834" y="36"/>
                  <a:pt x="1834" y="36"/>
                  <a:pt x="1834" y="36"/>
                </a:cubicBezTo>
                <a:cubicBezTo>
                  <a:pt x="1807" y="36"/>
                  <a:pt x="1807" y="36"/>
                  <a:pt x="1807" y="36"/>
                </a:cubicBezTo>
                <a:cubicBezTo>
                  <a:pt x="1807" y="132"/>
                  <a:pt x="1807" y="132"/>
                  <a:pt x="1807" y="132"/>
                </a:cubicBezTo>
                <a:cubicBezTo>
                  <a:pt x="1834" y="132"/>
                  <a:pt x="1834" y="132"/>
                  <a:pt x="1834" y="132"/>
                </a:cubicBezTo>
                <a:cubicBezTo>
                  <a:pt x="1834" y="97"/>
                  <a:pt x="1834" y="97"/>
                  <a:pt x="1834" y="97"/>
                </a:cubicBezTo>
                <a:cubicBezTo>
                  <a:pt x="1834" y="74"/>
                  <a:pt x="1845" y="63"/>
                  <a:pt x="1863" y="63"/>
                </a:cubicBezTo>
                <a:cubicBezTo>
                  <a:pt x="1865" y="63"/>
                  <a:pt x="1865" y="63"/>
                  <a:pt x="1865" y="63"/>
                </a:cubicBezTo>
                <a:cubicBezTo>
                  <a:pt x="1865" y="34"/>
                  <a:pt x="1865" y="34"/>
                  <a:pt x="1865" y="34"/>
                </a:cubicBezTo>
                <a:cubicBezTo>
                  <a:pt x="1848" y="33"/>
                  <a:pt x="1839" y="42"/>
                  <a:pt x="1834" y="55"/>
                </a:cubicBezTo>
                <a:close/>
                <a:moveTo>
                  <a:pt x="1748" y="34"/>
                </a:moveTo>
                <a:cubicBezTo>
                  <a:pt x="1718" y="34"/>
                  <a:pt x="1696" y="56"/>
                  <a:pt x="1696" y="84"/>
                </a:cubicBezTo>
                <a:cubicBezTo>
                  <a:pt x="1696" y="84"/>
                  <a:pt x="1696" y="84"/>
                  <a:pt x="1696" y="84"/>
                </a:cubicBezTo>
                <a:cubicBezTo>
                  <a:pt x="1696" y="112"/>
                  <a:pt x="1718" y="134"/>
                  <a:pt x="1748" y="134"/>
                </a:cubicBezTo>
                <a:cubicBezTo>
                  <a:pt x="1778" y="134"/>
                  <a:pt x="1800" y="112"/>
                  <a:pt x="1800" y="84"/>
                </a:cubicBezTo>
                <a:cubicBezTo>
                  <a:pt x="1800" y="84"/>
                  <a:pt x="1800" y="84"/>
                  <a:pt x="1800" y="84"/>
                </a:cubicBezTo>
                <a:cubicBezTo>
                  <a:pt x="1800" y="56"/>
                  <a:pt x="1778" y="34"/>
                  <a:pt x="1748" y="34"/>
                </a:cubicBezTo>
                <a:close/>
                <a:moveTo>
                  <a:pt x="1773" y="84"/>
                </a:moveTo>
                <a:cubicBezTo>
                  <a:pt x="1773" y="99"/>
                  <a:pt x="1764" y="111"/>
                  <a:pt x="1748" y="111"/>
                </a:cubicBezTo>
                <a:cubicBezTo>
                  <a:pt x="1733" y="111"/>
                  <a:pt x="1723" y="98"/>
                  <a:pt x="1723" y="84"/>
                </a:cubicBezTo>
                <a:cubicBezTo>
                  <a:pt x="1723" y="84"/>
                  <a:pt x="1723" y="84"/>
                  <a:pt x="1723" y="84"/>
                </a:cubicBezTo>
                <a:cubicBezTo>
                  <a:pt x="1723" y="70"/>
                  <a:pt x="1732" y="58"/>
                  <a:pt x="1748" y="58"/>
                </a:cubicBezTo>
                <a:cubicBezTo>
                  <a:pt x="1763" y="58"/>
                  <a:pt x="1773" y="70"/>
                  <a:pt x="1773" y="84"/>
                </a:cubicBezTo>
                <a:close/>
                <a:moveTo>
                  <a:pt x="1465" y="48"/>
                </a:moveTo>
                <a:cubicBezTo>
                  <a:pt x="1458" y="40"/>
                  <a:pt x="1449" y="34"/>
                  <a:pt x="1434" y="34"/>
                </a:cubicBezTo>
                <a:cubicBezTo>
                  <a:pt x="1412" y="34"/>
                  <a:pt x="1391" y="50"/>
                  <a:pt x="1391" y="79"/>
                </a:cubicBezTo>
                <a:cubicBezTo>
                  <a:pt x="1391" y="79"/>
                  <a:pt x="1391" y="79"/>
                  <a:pt x="1391" y="79"/>
                </a:cubicBezTo>
                <a:cubicBezTo>
                  <a:pt x="1391" y="108"/>
                  <a:pt x="1412" y="124"/>
                  <a:pt x="1434" y="124"/>
                </a:cubicBezTo>
                <a:cubicBezTo>
                  <a:pt x="1448" y="124"/>
                  <a:pt x="1457" y="118"/>
                  <a:pt x="1465" y="109"/>
                </a:cubicBezTo>
                <a:cubicBezTo>
                  <a:pt x="1465" y="113"/>
                  <a:pt x="1465" y="113"/>
                  <a:pt x="1465" y="113"/>
                </a:cubicBezTo>
                <a:cubicBezTo>
                  <a:pt x="1465" y="130"/>
                  <a:pt x="1457" y="139"/>
                  <a:pt x="1438" y="139"/>
                </a:cubicBezTo>
                <a:cubicBezTo>
                  <a:pt x="1425" y="139"/>
                  <a:pt x="1415" y="136"/>
                  <a:pt x="1405" y="131"/>
                </a:cubicBezTo>
                <a:cubicBezTo>
                  <a:pt x="1396" y="151"/>
                  <a:pt x="1396" y="151"/>
                  <a:pt x="1396" y="151"/>
                </a:cubicBezTo>
                <a:cubicBezTo>
                  <a:pt x="1408" y="158"/>
                  <a:pt x="1423" y="161"/>
                  <a:pt x="1439" y="161"/>
                </a:cubicBezTo>
                <a:cubicBezTo>
                  <a:pt x="1457" y="161"/>
                  <a:pt x="1471" y="157"/>
                  <a:pt x="1480" y="148"/>
                </a:cubicBezTo>
                <a:cubicBezTo>
                  <a:pt x="1488" y="140"/>
                  <a:pt x="1492" y="128"/>
                  <a:pt x="1492" y="110"/>
                </a:cubicBezTo>
                <a:cubicBezTo>
                  <a:pt x="1492" y="36"/>
                  <a:pt x="1492" y="36"/>
                  <a:pt x="1492" y="36"/>
                </a:cubicBezTo>
                <a:cubicBezTo>
                  <a:pt x="1465" y="36"/>
                  <a:pt x="1465" y="36"/>
                  <a:pt x="1465" y="36"/>
                </a:cubicBezTo>
                <a:lnTo>
                  <a:pt x="1465" y="48"/>
                </a:lnTo>
                <a:close/>
                <a:moveTo>
                  <a:pt x="1465" y="79"/>
                </a:moveTo>
                <a:cubicBezTo>
                  <a:pt x="1465" y="92"/>
                  <a:pt x="1455" y="102"/>
                  <a:pt x="1442" y="102"/>
                </a:cubicBezTo>
                <a:cubicBezTo>
                  <a:pt x="1429" y="102"/>
                  <a:pt x="1419" y="93"/>
                  <a:pt x="1419" y="79"/>
                </a:cubicBezTo>
                <a:cubicBezTo>
                  <a:pt x="1419" y="79"/>
                  <a:pt x="1419" y="79"/>
                  <a:pt x="1419" y="79"/>
                </a:cubicBezTo>
                <a:cubicBezTo>
                  <a:pt x="1419" y="66"/>
                  <a:pt x="1429" y="57"/>
                  <a:pt x="1442" y="57"/>
                </a:cubicBezTo>
                <a:cubicBezTo>
                  <a:pt x="1455" y="57"/>
                  <a:pt x="1465" y="66"/>
                  <a:pt x="1465" y="79"/>
                </a:cubicBezTo>
                <a:close/>
                <a:moveTo>
                  <a:pt x="1697" y="37"/>
                </a:moveTo>
                <a:cubicBezTo>
                  <a:pt x="1675" y="37"/>
                  <a:pt x="1675" y="37"/>
                  <a:pt x="1675" y="37"/>
                </a:cubicBezTo>
                <a:cubicBezTo>
                  <a:pt x="1675" y="33"/>
                  <a:pt x="1675" y="33"/>
                  <a:pt x="1675" y="33"/>
                </a:cubicBezTo>
                <a:cubicBezTo>
                  <a:pt x="1675" y="26"/>
                  <a:pt x="1678" y="23"/>
                  <a:pt x="1684" y="23"/>
                </a:cubicBezTo>
                <a:cubicBezTo>
                  <a:pt x="1689" y="23"/>
                  <a:pt x="1693" y="24"/>
                  <a:pt x="1697" y="25"/>
                </a:cubicBezTo>
                <a:cubicBezTo>
                  <a:pt x="1697" y="2"/>
                  <a:pt x="1697" y="2"/>
                  <a:pt x="1697" y="2"/>
                </a:cubicBezTo>
                <a:cubicBezTo>
                  <a:pt x="1692" y="1"/>
                  <a:pt x="1686" y="0"/>
                  <a:pt x="1677" y="0"/>
                </a:cubicBezTo>
                <a:cubicBezTo>
                  <a:pt x="1668" y="0"/>
                  <a:pt x="1660" y="2"/>
                  <a:pt x="1655" y="7"/>
                </a:cubicBezTo>
                <a:cubicBezTo>
                  <a:pt x="1650" y="12"/>
                  <a:pt x="1648" y="20"/>
                  <a:pt x="1648" y="31"/>
                </a:cubicBezTo>
                <a:cubicBezTo>
                  <a:pt x="1648" y="37"/>
                  <a:pt x="1648" y="37"/>
                  <a:pt x="1648" y="37"/>
                </a:cubicBezTo>
                <a:cubicBezTo>
                  <a:pt x="1636" y="37"/>
                  <a:pt x="1636" y="37"/>
                  <a:pt x="1636" y="37"/>
                </a:cubicBezTo>
                <a:cubicBezTo>
                  <a:pt x="1636" y="59"/>
                  <a:pt x="1636" y="59"/>
                  <a:pt x="1636" y="59"/>
                </a:cubicBezTo>
                <a:cubicBezTo>
                  <a:pt x="1648" y="59"/>
                  <a:pt x="1648" y="59"/>
                  <a:pt x="1648" y="59"/>
                </a:cubicBezTo>
                <a:cubicBezTo>
                  <a:pt x="1648" y="132"/>
                  <a:pt x="1648" y="132"/>
                  <a:pt x="1648" y="132"/>
                </a:cubicBezTo>
                <a:cubicBezTo>
                  <a:pt x="1675" y="132"/>
                  <a:pt x="1675" y="132"/>
                  <a:pt x="1675" y="132"/>
                </a:cubicBezTo>
                <a:cubicBezTo>
                  <a:pt x="1675" y="59"/>
                  <a:pt x="1675" y="59"/>
                  <a:pt x="1675" y="59"/>
                </a:cubicBezTo>
                <a:cubicBezTo>
                  <a:pt x="1697" y="59"/>
                  <a:pt x="1697" y="59"/>
                  <a:pt x="1697" y="59"/>
                </a:cubicBezTo>
                <a:lnTo>
                  <a:pt x="1697" y="37"/>
                </a:lnTo>
                <a:close/>
                <a:moveTo>
                  <a:pt x="1548" y="101"/>
                </a:moveTo>
                <a:cubicBezTo>
                  <a:pt x="1526" y="36"/>
                  <a:pt x="1526" y="36"/>
                  <a:pt x="1526" y="36"/>
                </a:cubicBezTo>
                <a:cubicBezTo>
                  <a:pt x="1497" y="36"/>
                  <a:pt x="1497" y="36"/>
                  <a:pt x="1497" y="36"/>
                </a:cubicBezTo>
                <a:cubicBezTo>
                  <a:pt x="1535" y="132"/>
                  <a:pt x="1535" y="132"/>
                  <a:pt x="1535" y="132"/>
                </a:cubicBezTo>
                <a:cubicBezTo>
                  <a:pt x="1532" y="137"/>
                  <a:pt x="1530" y="139"/>
                  <a:pt x="1525" y="139"/>
                </a:cubicBezTo>
                <a:cubicBezTo>
                  <a:pt x="1521" y="139"/>
                  <a:pt x="1517" y="137"/>
                  <a:pt x="1513" y="135"/>
                </a:cubicBezTo>
                <a:cubicBezTo>
                  <a:pt x="1504" y="155"/>
                  <a:pt x="1504" y="155"/>
                  <a:pt x="1504" y="155"/>
                </a:cubicBezTo>
                <a:cubicBezTo>
                  <a:pt x="1511" y="159"/>
                  <a:pt x="1519" y="161"/>
                  <a:pt x="1528" y="161"/>
                </a:cubicBezTo>
                <a:cubicBezTo>
                  <a:pt x="1545" y="161"/>
                  <a:pt x="1553" y="154"/>
                  <a:pt x="1560" y="134"/>
                </a:cubicBezTo>
                <a:cubicBezTo>
                  <a:pt x="1597" y="36"/>
                  <a:pt x="1597" y="36"/>
                  <a:pt x="1597" y="36"/>
                </a:cubicBezTo>
                <a:cubicBezTo>
                  <a:pt x="1569" y="36"/>
                  <a:pt x="1569" y="36"/>
                  <a:pt x="1569" y="36"/>
                </a:cubicBezTo>
                <a:lnTo>
                  <a:pt x="1548" y="101"/>
                </a:lnTo>
                <a:close/>
                <a:moveTo>
                  <a:pt x="1008" y="34"/>
                </a:moveTo>
                <a:cubicBezTo>
                  <a:pt x="994" y="34"/>
                  <a:pt x="986" y="41"/>
                  <a:pt x="980" y="49"/>
                </a:cubicBezTo>
                <a:cubicBezTo>
                  <a:pt x="980" y="1"/>
                  <a:pt x="980" y="1"/>
                  <a:pt x="980" y="1"/>
                </a:cubicBezTo>
                <a:cubicBezTo>
                  <a:pt x="952" y="1"/>
                  <a:pt x="952" y="1"/>
                  <a:pt x="952" y="1"/>
                </a:cubicBezTo>
                <a:cubicBezTo>
                  <a:pt x="952" y="132"/>
                  <a:pt x="952" y="132"/>
                  <a:pt x="952" y="132"/>
                </a:cubicBezTo>
                <a:cubicBezTo>
                  <a:pt x="980" y="132"/>
                  <a:pt x="980" y="132"/>
                  <a:pt x="980" y="132"/>
                </a:cubicBezTo>
                <a:cubicBezTo>
                  <a:pt x="980" y="78"/>
                  <a:pt x="980" y="78"/>
                  <a:pt x="980" y="78"/>
                </a:cubicBezTo>
                <a:cubicBezTo>
                  <a:pt x="980" y="65"/>
                  <a:pt x="986" y="59"/>
                  <a:pt x="997" y="59"/>
                </a:cubicBezTo>
                <a:cubicBezTo>
                  <a:pt x="1007" y="59"/>
                  <a:pt x="1013" y="65"/>
                  <a:pt x="1013" y="78"/>
                </a:cubicBezTo>
                <a:cubicBezTo>
                  <a:pt x="1013" y="132"/>
                  <a:pt x="1013" y="132"/>
                  <a:pt x="1013" y="132"/>
                </a:cubicBezTo>
                <a:cubicBezTo>
                  <a:pt x="1040" y="132"/>
                  <a:pt x="1040" y="132"/>
                  <a:pt x="1040" y="132"/>
                </a:cubicBezTo>
                <a:cubicBezTo>
                  <a:pt x="1040" y="70"/>
                  <a:pt x="1040" y="70"/>
                  <a:pt x="1040" y="70"/>
                </a:cubicBezTo>
                <a:cubicBezTo>
                  <a:pt x="1040" y="48"/>
                  <a:pt x="1028" y="34"/>
                  <a:pt x="1008" y="34"/>
                </a:cubicBezTo>
                <a:close/>
                <a:moveTo>
                  <a:pt x="1250" y="132"/>
                </a:moveTo>
                <a:cubicBezTo>
                  <a:pt x="1278" y="132"/>
                  <a:pt x="1278" y="132"/>
                  <a:pt x="1278" y="132"/>
                </a:cubicBezTo>
                <a:cubicBezTo>
                  <a:pt x="1278" y="1"/>
                  <a:pt x="1278" y="1"/>
                  <a:pt x="1278" y="1"/>
                </a:cubicBezTo>
                <a:cubicBezTo>
                  <a:pt x="1250" y="1"/>
                  <a:pt x="1250" y="1"/>
                  <a:pt x="1250" y="1"/>
                </a:cubicBezTo>
                <a:lnTo>
                  <a:pt x="1250" y="132"/>
                </a:lnTo>
                <a:close/>
                <a:moveTo>
                  <a:pt x="1103" y="34"/>
                </a:moveTo>
                <a:cubicBezTo>
                  <a:pt x="1089" y="34"/>
                  <a:pt x="1081" y="41"/>
                  <a:pt x="1075" y="49"/>
                </a:cubicBezTo>
                <a:cubicBezTo>
                  <a:pt x="1075" y="36"/>
                  <a:pt x="1075" y="36"/>
                  <a:pt x="1075" y="36"/>
                </a:cubicBezTo>
                <a:cubicBezTo>
                  <a:pt x="1047" y="36"/>
                  <a:pt x="1047" y="36"/>
                  <a:pt x="1047" y="36"/>
                </a:cubicBezTo>
                <a:cubicBezTo>
                  <a:pt x="1047" y="132"/>
                  <a:pt x="1047" y="132"/>
                  <a:pt x="1047" y="132"/>
                </a:cubicBezTo>
                <a:cubicBezTo>
                  <a:pt x="1075" y="132"/>
                  <a:pt x="1075" y="132"/>
                  <a:pt x="1075" y="132"/>
                </a:cubicBezTo>
                <a:cubicBezTo>
                  <a:pt x="1075" y="78"/>
                  <a:pt x="1075" y="78"/>
                  <a:pt x="1075" y="78"/>
                </a:cubicBezTo>
                <a:cubicBezTo>
                  <a:pt x="1075" y="65"/>
                  <a:pt x="1081" y="59"/>
                  <a:pt x="1092" y="59"/>
                </a:cubicBezTo>
                <a:cubicBezTo>
                  <a:pt x="1102" y="59"/>
                  <a:pt x="1108" y="65"/>
                  <a:pt x="1108" y="78"/>
                </a:cubicBezTo>
                <a:cubicBezTo>
                  <a:pt x="1108" y="132"/>
                  <a:pt x="1108" y="132"/>
                  <a:pt x="1108" y="132"/>
                </a:cubicBezTo>
                <a:cubicBezTo>
                  <a:pt x="1135" y="132"/>
                  <a:pt x="1135" y="132"/>
                  <a:pt x="1135" y="132"/>
                </a:cubicBezTo>
                <a:cubicBezTo>
                  <a:pt x="1135" y="70"/>
                  <a:pt x="1135" y="70"/>
                  <a:pt x="1135" y="70"/>
                </a:cubicBezTo>
                <a:cubicBezTo>
                  <a:pt x="1135" y="48"/>
                  <a:pt x="1123" y="34"/>
                  <a:pt x="1103" y="34"/>
                </a:cubicBezTo>
                <a:close/>
                <a:moveTo>
                  <a:pt x="910" y="111"/>
                </a:moveTo>
                <a:cubicBezTo>
                  <a:pt x="895" y="111"/>
                  <a:pt x="885" y="99"/>
                  <a:pt x="885" y="84"/>
                </a:cubicBezTo>
                <a:cubicBezTo>
                  <a:pt x="885" y="84"/>
                  <a:pt x="885" y="84"/>
                  <a:pt x="885" y="84"/>
                </a:cubicBezTo>
                <a:cubicBezTo>
                  <a:pt x="885" y="70"/>
                  <a:pt x="895" y="58"/>
                  <a:pt x="909" y="58"/>
                </a:cubicBezTo>
                <a:cubicBezTo>
                  <a:pt x="918" y="58"/>
                  <a:pt x="925" y="62"/>
                  <a:pt x="931" y="68"/>
                </a:cubicBezTo>
                <a:cubicBezTo>
                  <a:pt x="947" y="50"/>
                  <a:pt x="947" y="50"/>
                  <a:pt x="947" y="50"/>
                </a:cubicBezTo>
                <a:cubicBezTo>
                  <a:pt x="938" y="40"/>
                  <a:pt x="927" y="34"/>
                  <a:pt x="909" y="34"/>
                </a:cubicBezTo>
                <a:cubicBezTo>
                  <a:pt x="880" y="34"/>
                  <a:pt x="859" y="57"/>
                  <a:pt x="859" y="84"/>
                </a:cubicBezTo>
                <a:cubicBezTo>
                  <a:pt x="859" y="84"/>
                  <a:pt x="859" y="84"/>
                  <a:pt x="859" y="84"/>
                </a:cubicBezTo>
                <a:cubicBezTo>
                  <a:pt x="859" y="112"/>
                  <a:pt x="880" y="134"/>
                  <a:pt x="909" y="134"/>
                </a:cubicBezTo>
                <a:cubicBezTo>
                  <a:pt x="928" y="134"/>
                  <a:pt x="939" y="127"/>
                  <a:pt x="948" y="117"/>
                </a:cubicBezTo>
                <a:cubicBezTo>
                  <a:pt x="932" y="100"/>
                  <a:pt x="932" y="100"/>
                  <a:pt x="932" y="100"/>
                </a:cubicBezTo>
                <a:cubicBezTo>
                  <a:pt x="925" y="107"/>
                  <a:pt x="919" y="111"/>
                  <a:pt x="910" y="111"/>
                </a:cubicBezTo>
                <a:close/>
                <a:moveTo>
                  <a:pt x="1945" y="35"/>
                </a:moveTo>
                <a:cubicBezTo>
                  <a:pt x="1929" y="35"/>
                  <a:pt x="1918" y="38"/>
                  <a:pt x="1908" y="42"/>
                </a:cubicBezTo>
                <a:cubicBezTo>
                  <a:pt x="1915" y="63"/>
                  <a:pt x="1915" y="63"/>
                  <a:pt x="1915" y="63"/>
                </a:cubicBezTo>
                <a:cubicBezTo>
                  <a:pt x="1923" y="60"/>
                  <a:pt x="1931" y="58"/>
                  <a:pt x="1941" y="58"/>
                </a:cubicBezTo>
                <a:cubicBezTo>
                  <a:pt x="1955" y="58"/>
                  <a:pt x="1962" y="64"/>
                  <a:pt x="1962" y="76"/>
                </a:cubicBezTo>
                <a:cubicBezTo>
                  <a:pt x="1962" y="77"/>
                  <a:pt x="1962" y="77"/>
                  <a:pt x="1962" y="77"/>
                </a:cubicBezTo>
                <a:cubicBezTo>
                  <a:pt x="1955" y="75"/>
                  <a:pt x="1948" y="73"/>
                  <a:pt x="1938" y="73"/>
                </a:cubicBezTo>
                <a:cubicBezTo>
                  <a:pt x="1915" y="73"/>
                  <a:pt x="1899" y="83"/>
                  <a:pt x="1899" y="104"/>
                </a:cubicBezTo>
                <a:cubicBezTo>
                  <a:pt x="1899" y="104"/>
                  <a:pt x="1899" y="104"/>
                  <a:pt x="1899" y="104"/>
                </a:cubicBezTo>
                <a:cubicBezTo>
                  <a:pt x="1899" y="123"/>
                  <a:pt x="1914" y="134"/>
                  <a:pt x="1932" y="134"/>
                </a:cubicBezTo>
                <a:cubicBezTo>
                  <a:pt x="1946" y="134"/>
                  <a:pt x="1955" y="129"/>
                  <a:pt x="1962" y="122"/>
                </a:cubicBezTo>
                <a:cubicBezTo>
                  <a:pt x="1962" y="132"/>
                  <a:pt x="1962" y="132"/>
                  <a:pt x="1962" y="132"/>
                </a:cubicBezTo>
                <a:cubicBezTo>
                  <a:pt x="1988" y="132"/>
                  <a:pt x="1988" y="132"/>
                  <a:pt x="1988" y="132"/>
                </a:cubicBezTo>
                <a:cubicBezTo>
                  <a:pt x="1988" y="76"/>
                  <a:pt x="1988" y="76"/>
                  <a:pt x="1988" y="76"/>
                </a:cubicBezTo>
                <a:cubicBezTo>
                  <a:pt x="1988" y="63"/>
                  <a:pt x="1985" y="53"/>
                  <a:pt x="1978" y="46"/>
                </a:cubicBezTo>
                <a:cubicBezTo>
                  <a:pt x="1971" y="39"/>
                  <a:pt x="1960" y="35"/>
                  <a:pt x="1945" y="35"/>
                </a:cubicBezTo>
                <a:close/>
                <a:moveTo>
                  <a:pt x="1962" y="98"/>
                </a:moveTo>
                <a:cubicBezTo>
                  <a:pt x="1962" y="108"/>
                  <a:pt x="1953" y="115"/>
                  <a:pt x="1941" y="115"/>
                </a:cubicBezTo>
                <a:cubicBezTo>
                  <a:pt x="1932" y="115"/>
                  <a:pt x="1926" y="111"/>
                  <a:pt x="1926" y="103"/>
                </a:cubicBezTo>
                <a:cubicBezTo>
                  <a:pt x="1926" y="103"/>
                  <a:pt x="1926" y="103"/>
                  <a:pt x="1926" y="103"/>
                </a:cubicBezTo>
                <a:cubicBezTo>
                  <a:pt x="1926" y="94"/>
                  <a:pt x="1933" y="90"/>
                  <a:pt x="1945" y="90"/>
                </a:cubicBezTo>
                <a:cubicBezTo>
                  <a:pt x="1951" y="90"/>
                  <a:pt x="1957" y="91"/>
                  <a:pt x="1962" y="93"/>
                </a:cubicBezTo>
                <a:lnTo>
                  <a:pt x="1962" y="98"/>
                </a:lnTo>
                <a:close/>
                <a:moveTo>
                  <a:pt x="1193" y="34"/>
                </a:moveTo>
                <a:cubicBezTo>
                  <a:pt x="1163" y="34"/>
                  <a:pt x="1141" y="56"/>
                  <a:pt x="1141" y="84"/>
                </a:cubicBezTo>
                <a:cubicBezTo>
                  <a:pt x="1141" y="84"/>
                  <a:pt x="1141" y="84"/>
                  <a:pt x="1141" y="84"/>
                </a:cubicBezTo>
                <a:cubicBezTo>
                  <a:pt x="1141" y="112"/>
                  <a:pt x="1163" y="134"/>
                  <a:pt x="1193" y="134"/>
                </a:cubicBezTo>
                <a:cubicBezTo>
                  <a:pt x="1223" y="134"/>
                  <a:pt x="1245" y="112"/>
                  <a:pt x="1245" y="84"/>
                </a:cubicBezTo>
                <a:cubicBezTo>
                  <a:pt x="1245" y="84"/>
                  <a:pt x="1245" y="84"/>
                  <a:pt x="1245" y="84"/>
                </a:cubicBezTo>
                <a:cubicBezTo>
                  <a:pt x="1245" y="56"/>
                  <a:pt x="1223" y="34"/>
                  <a:pt x="1193" y="34"/>
                </a:cubicBezTo>
                <a:close/>
                <a:moveTo>
                  <a:pt x="1218" y="84"/>
                </a:moveTo>
                <a:cubicBezTo>
                  <a:pt x="1218" y="99"/>
                  <a:pt x="1209" y="111"/>
                  <a:pt x="1193" y="111"/>
                </a:cubicBezTo>
                <a:cubicBezTo>
                  <a:pt x="1178" y="111"/>
                  <a:pt x="1168" y="98"/>
                  <a:pt x="1168" y="84"/>
                </a:cubicBezTo>
                <a:cubicBezTo>
                  <a:pt x="1168" y="84"/>
                  <a:pt x="1168" y="84"/>
                  <a:pt x="1168" y="84"/>
                </a:cubicBezTo>
                <a:cubicBezTo>
                  <a:pt x="1168" y="70"/>
                  <a:pt x="1177" y="58"/>
                  <a:pt x="1193" y="58"/>
                </a:cubicBezTo>
                <a:cubicBezTo>
                  <a:pt x="1208" y="58"/>
                  <a:pt x="1218" y="70"/>
                  <a:pt x="1218" y="84"/>
                </a:cubicBezTo>
                <a:close/>
              </a:path>
            </a:pathLst>
          </a:custGeom>
          <a:solidFill>
            <a:srgbClr val="4D144A"/>
          </a:solidFill>
          <a:ln>
            <a:noFill/>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1258543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_Black">
    <p:bg>
      <p:bgPr>
        <a:solidFill>
          <a:srgbClr val="1E0013"/>
        </a:solidFill>
        <a:effectLst/>
      </p:bgPr>
    </p:bg>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760612" y="1308880"/>
            <a:ext cx="10670778" cy="4787120"/>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2B190EFC-69A6-D92C-008E-75B891AE7709}"/>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250869792"/>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F0EA5-EEAF-67D4-56F9-DEEF174A253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037CD82-54A5-1CA1-C4E0-13AA23CF1C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58A508-3314-1E64-B2A9-09FE878A2745}"/>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5" name="Footer Placeholder 4">
            <a:extLst>
              <a:ext uri="{FF2B5EF4-FFF2-40B4-BE49-F238E27FC236}">
                <a16:creationId xmlns:a16="http://schemas.microsoft.com/office/drawing/2014/main" id="{7E83F258-DA1B-A9AA-0EA4-C33ACF6DFB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E93A50-1B08-B9BB-7853-4DF5B4C870E0}"/>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16440094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F92167A-3C70-B2E8-3196-012C4AF0A44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30FF716-74BF-0AD5-2404-108F2D21C1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6F11C3-D0C6-B645-139E-9AAA1DC304B3}"/>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5" name="Footer Placeholder 4">
            <a:extLst>
              <a:ext uri="{FF2B5EF4-FFF2-40B4-BE49-F238E27FC236}">
                <a16:creationId xmlns:a16="http://schemas.microsoft.com/office/drawing/2014/main" id="{897C0CC4-0AFC-0566-DF87-1DF3D9E588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7C6136-F00B-1F9A-C2F2-709D7A8BA330}"/>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6092301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1_Section Header_Black_Alt">
    <p:bg>
      <p:bgPr>
        <a:solidFill>
          <a:schemeClr val="tx1"/>
        </a:solidFill>
        <a:effectLst/>
      </p:bgPr>
    </p:bg>
    <p:spTree>
      <p:nvGrpSpPr>
        <p:cNvPr id="1" name=""/>
        <p:cNvGrpSpPr/>
        <p:nvPr/>
      </p:nvGrpSpPr>
      <p:grpSpPr>
        <a:xfrm>
          <a:off x="0" y="0"/>
          <a:ext cx="0" cy="0"/>
          <a:chOff x="0" y="0"/>
          <a:chExt cx="0" cy="0"/>
        </a:xfrm>
      </p:grpSpPr>
      <p:pic>
        <p:nvPicPr>
          <p:cNvPr id="25" name="Picture 24" descr="Background pattern&#10;&#10;Description automatically generated">
            <a:extLst>
              <a:ext uri="{FF2B5EF4-FFF2-40B4-BE49-F238E27FC236}">
                <a16:creationId xmlns:a16="http://schemas.microsoft.com/office/drawing/2014/main" id="{D2ED0643-8C31-4A20-AE73-693EFF6654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 y="39"/>
            <a:ext cx="12192000" cy="6857929"/>
          </a:xfrm>
          <a:prstGeom prst="rect">
            <a:avLst/>
          </a:prstGeom>
        </p:spPr>
      </p:pic>
      <p:sp>
        <p:nvSpPr>
          <p:cNvPr id="3" name="Title 28">
            <a:extLst>
              <a:ext uri="{FF2B5EF4-FFF2-40B4-BE49-F238E27FC236}">
                <a16:creationId xmlns:a16="http://schemas.microsoft.com/office/drawing/2014/main" id="{37C545B6-586A-4B0A-DF86-CFF59B525A7E}"/>
              </a:ext>
            </a:extLst>
          </p:cNvPr>
          <p:cNvSpPr>
            <a:spLocks noGrp="1"/>
          </p:cNvSpPr>
          <p:nvPr>
            <p:ph type="title" hasCustomPrompt="1"/>
          </p:nvPr>
        </p:nvSpPr>
        <p:spPr bwMode="gray">
          <a:xfrm>
            <a:off x="760613" y="442528"/>
            <a:ext cx="10670780" cy="418576"/>
          </a:xfrm>
          <a:prstGeom prst="rect">
            <a:avLst/>
          </a:prstGeom>
        </p:spPr>
        <p:txBody>
          <a:bodyPr wrap="square" lIns="0" tIns="0" rIns="0" bIns="0" anchor="t" anchorCtr="0">
            <a:noAutofit/>
          </a:bodyPr>
          <a:lstStyle>
            <a:lvl1pPr marL="0" algn="l" defTabSz="1218255" rtl="0" eaLnBrk="1" latinLnBrk="0" hangingPunct="1">
              <a:lnSpc>
                <a:spcPct val="85000"/>
              </a:lnSpc>
              <a:spcBef>
                <a:spcPct val="0"/>
              </a:spcBef>
              <a:buNone/>
              <a:tabLst>
                <a:tab pos="1218255" algn="l"/>
              </a:tabLst>
              <a:defRPr lang="en-US" sz="3198"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Tree>
    <p:extLst>
      <p:ext uri="{BB962C8B-B14F-4D97-AF65-F5344CB8AC3E}">
        <p14:creationId xmlns:p14="http://schemas.microsoft.com/office/powerpoint/2010/main" val="1041650936"/>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_Black_Alt">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D0CCA6-C34D-A5EF-9D63-BA192876AD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flipH="1">
            <a:off x="6834380" y="0"/>
            <a:ext cx="5357621" cy="6858000"/>
          </a:xfrm>
          <a:prstGeom prst="rect">
            <a:avLst/>
          </a:prstGeom>
        </p:spPr>
      </p:pic>
      <p:pic>
        <p:nvPicPr>
          <p:cNvPr id="7" name="Picture 6" descr="A purple and black background&#10;&#10;Description automatically generated">
            <a:extLst>
              <a:ext uri="{FF2B5EF4-FFF2-40B4-BE49-F238E27FC236}">
                <a16:creationId xmlns:a16="http://schemas.microsoft.com/office/drawing/2014/main" id="{11F23808-AFF3-303E-456D-3D2D7243BD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436" y="0"/>
            <a:ext cx="6859786" cy="6858000"/>
          </a:xfrm>
          <a:prstGeom prst="rect">
            <a:avLst/>
          </a:prstGeom>
        </p:spPr>
      </p:pic>
      <p:sp>
        <p:nvSpPr>
          <p:cNvPr id="56" name="Title 16"/>
          <p:cNvSpPr>
            <a:spLocks noGrp="1"/>
          </p:cNvSpPr>
          <p:nvPr userDrawn="1">
            <p:ph type="title" hasCustomPrompt="1"/>
          </p:nvPr>
        </p:nvSpPr>
        <p:spPr bwMode="gray">
          <a:xfrm>
            <a:off x="750529" y="1524000"/>
            <a:ext cx="9914678" cy="3273368"/>
          </a:xfrm>
          <a:prstGeom prst="rect">
            <a:avLst/>
          </a:prstGeom>
        </p:spPr>
        <p:txBody>
          <a:bodyPr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bg1"/>
                </a:solidFill>
                <a:latin typeface="Arial" pitchFamily="34" charset="0"/>
                <a:ea typeface="+mn-ea"/>
                <a:cs typeface="Arial" pitchFamily="34" charset="0"/>
              </a:defRPr>
            </a:lvl1pPr>
          </a:lstStyle>
          <a:p>
            <a:r>
              <a:rPr lang="en-US"/>
              <a:t>Presentation</a:t>
            </a:r>
            <a:br>
              <a:rPr lang="en-US"/>
            </a:br>
            <a:r>
              <a:rPr lang="en-US"/>
              <a:t>title here</a:t>
            </a:r>
          </a:p>
        </p:txBody>
      </p:sp>
      <p:sp>
        <p:nvSpPr>
          <p:cNvPr id="55" name="Subtitle 2"/>
          <p:cNvSpPr>
            <a:spLocks noGrp="1"/>
          </p:cNvSpPr>
          <p:nvPr userDrawn="1">
            <p:ph type="subTitle" idx="1" hasCustomPrompt="1"/>
          </p:nvPr>
        </p:nvSpPr>
        <p:spPr bwMode="gray">
          <a:xfrm>
            <a:off x="760612" y="5046115"/>
            <a:ext cx="9914678" cy="356616"/>
          </a:xfrm>
          <a:prstGeom prst="rect">
            <a:avLst/>
          </a:prstGeom>
        </p:spPr>
        <p:txBody>
          <a:bodyPr lIns="0" tIns="0" rIns="0" bIns="0" anchor="t" anchorCtr="0"/>
          <a:lstStyle>
            <a:lvl1pPr marL="0" indent="0" algn="l" defTabSz="1218987" rtl="0" eaLnBrk="1" latinLnBrk="0" hangingPunct="1">
              <a:lnSpc>
                <a:spcPct val="90000"/>
              </a:lnSpc>
              <a:spcBef>
                <a:spcPct val="0"/>
              </a:spcBef>
              <a:buNone/>
              <a:defRPr lang="en-US" sz="2600" b="0" kern="1200" cap="none" spc="0" baseline="0" dirty="0">
                <a:solidFill>
                  <a:schemeClr val="bg1"/>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Speaker Name | Date</a:t>
            </a:r>
          </a:p>
        </p:txBody>
      </p:sp>
      <p:grpSp>
        <p:nvGrpSpPr>
          <p:cNvPr id="68" name="Group 67">
            <a:extLst>
              <a:ext uri="{FF2B5EF4-FFF2-40B4-BE49-F238E27FC236}">
                <a16:creationId xmlns:a16="http://schemas.microsoft.com/office/drawing/2014/main" id="{C178D7C6-5801-6B30-A6A7-963788E95D85}"/>
              </a:ext>
            </a:extLst>
          </p:cNvPr>
          <p:cNvGrpSpPr>
            <a:grpSpLocks noChangeAspect="1"/>
          </p:cNvGrpSpPr>
          <p:nvPr userDrawn="1"/>
        </p:nvGrpSpPr>
        <p:grpSpPr>
          <a:xfrm rot="16200000">
            <a:off x="10667556" y="1526076"/>
            <a:ext cx="2286000" cy="762892"/>
            <a:chOff x="547688" y="952500"/>
            <a:chExt cx="12190413" cy="4067175"/>
          </a:xfrm>
        </p:grpSpPr>
        <p:sp>
          <p:nvSpPr>
            <p:cNvPr id="69" name="Rectangle 68">
              <a:extLst>
                <a:ext uri="{FF2B5EF4-FFF2-40B4-BE49-F238E27FC236}">
                  <a16:creationId xmlns:a16="http://schemas.microsoft.com/office/drawing/2014/main" id="{69E9C34A-28EF-207E-149B-9EBED2862D65}"/>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7">
              <a:extLst>
                <a:ext uri="{FF2B5EF4-FFF2-40B4-BE49-F238E27FC236}">
                  <a16:creationId xmlns:a16="http://schemas.microsoft.com/office/drawing/2014/main" id="{158C3A6B-F5BB-E37E-DB3D-C1ABEA07F210}"/>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8">
              <a:extLst>
                <a:ext uri="{FF2B5EF4-FFF2-40B4-BE49-F238E27FC236}">
                  <a16:creationId xmlns:a16="http://schemas.microsoft.com/office/drawing/2014/main" id="{A56AE87F-217D-4207-F227-987A2E7FEBFA}"/>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9">
              <a:extLst>
                <a:ext uri="{FF2B5EF4-FFF2-40B4-BE49-F238E27FC236}">
                  <a16:creationId xmlns:a16="http://schemas.microsoft.com/office/drawing/2014/main" id="{D65BCC2D-74A9-8E37-6BBC-33B74966DAC1}"/>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10">
              <a:extLst>
                <a:ext uri="{FF2B5EF4-FFF2-40B4-BE49-F238E27FC236}">
                  <a16:creationId xmlns:a16="http://schemas.microsoft.com/office/drawing/2014/main" id="{BA8558ED-E4BF-D888-EF3B-A311AFE8C47C}"/>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10">
              <a:extLst>
                <a:ext uri="{FF2B5EF4-FFF2-40B4-BE49-F238E27FC236}">
                  <a16:creationId xmlns:a16="http://schemas.microsoft.com/office/drawing/2014/main" id="{AFF1776F-9DBA-D51E-8F71-E1FB30D76794}"/>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11">
              <a:extLst>
                <a:ext uri="{FF2B5EF4-FFF2-40B4-BE49-F238E27FC236}">
                  <a16:creationId xmlns:a16="http://schemas.microsoft.com/office/drawing/2014/main" id="{820D6E3B-9704-EBDF-9D0D-A571A36CBC77}"/>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2" name="Picture 1" descr="A black and white logo&#10;&#10;Description automatically generated">
            <a:extLst>
              <a:ext uri="{FF2B5EF4-FFF2-40B4-BE49-F238E27FC236}">
                <a16:creationId xmlns:a16="http://schemas.microsoft.com/office/drawing/2014/main" id="{15559A9E-6F58-A4B6-B2A1-27E727014EF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0529" y="764522"/>
            <a:ext cx="2005582" cy="750334"/>
          </a:xfrm>
          <a:prstGeom prst="rect">
            <a:avLst/>
          </a:prstGeom>
        </p:spPr>
      </p:pic>
      <p:sp>
        <p:nvSpPr>
          <p:cNvPr id="4" name="TextBox 3">
            <a:extLst>
              <a:ext uri="{FF2B5EF4-FFF2-40B4-BE49-F238E27FC236}">
                <a16:creationId xmlns:a16="http://schemas.microsoft.com/office/drawing/2014/main" id="{2E8F21DF-7F00-EB0A-CF1D-6557BF3221E5}"/>
              </a:ext>
            </a:extLst>
          </p:cNvPr>
          <p:cNvSpPr txBox="1"/>
          <p:nvPr userDrawn="1"/>
        </p:nvSpPr>
        <p:spPr>
          <a:xfrm>
            <a:off x="750529" y="6401580"/>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5 Lenovo Internal. All rights reserved.</a:t>
            </a:r>
          </a:p>
        </p:txBody>
      </p:sp>
    </p:spTree>
    <p:extLst>
      <p:ext uri="{BB962C8B-B14F-4D97-AF65-F5344CB8AC3E}">
        <p14:creationId xmlns:p14="http://schemas.microsoft.com/office/powerpoint/2010/main" val="1244820597"/>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Title Slide_Black_Alt">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D0CCA6-C34D-A5EF-9D63-BA192876AD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6834380" y="0"/>
            <a:ext cx="5357621" cy="6858000"/>
          </a:xfrm>
          <a:prstGeom prst="rect">
            <a:avLst/>
          </a:prstGeom>
        </p:spPr>
      </p:pic>
      <p:pic>
        <p:nvPicPr>
          <p:cNvPr id="7" name="Picture 6" descr="A purple and black background&#10;&#10;Description automatically generated">
            <a:extLst>
              <a:ext uri="{FF2B5EF4-FFF2-40B4-BE49-F238E27FC236}">
                <a16:creationId xmlns:a16="http://schemas.microsoft.com/office/drawing/2014/main" id="{11F23808-AFF3-303E-456D-3D2D7243BD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436" y="0"/>
            <a:ext cx="6859786" cy="6858000"/>
          </a:xfrm>
          <a:prstGeom prst="rect">
            <a:avLst/>
          </a:prstGeom>
        </p:spPr>
      </p:pic>
      <p:sp>
        <p:nvSpPr>
          <p:cNvPr id="56" name="Title 16"/>
          <p:cNvSpPr>
            <a:spLocks noGrp="1"/>
          </p:cNvSpPr>
          <p:nvPr userDrawn="1">
            <p:ph type="title" hasCustomPrompt="1"/>
          </p:nvPr>
        </p:nvSpPr>
        <p:spPr bwMode="gray">
          <a:xfrm>
            <a:off x="750529" y="1524000"/>
            <a:ext cx="9914678" cy="3273368"/>
          </a:xfrm>
          <a:prstGeom prst="rect">
            <a:avLst/>
          </a:prstGeom>
        </p:spPr>
        <p:txBody>
          <a:bodyPr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bg1"/>
                </a:solidFill>
                <a:latin typeface="Arial" pitchFamily="34" charset="0"/>
                <a:ea typeface="+mn-ea"/>
                <a:cs typeface="Arial" pitchFamily="34" charset="0"/>
              </a:defRPr>
            </a:lvl1pPr>
          </a:lstStyle>
          <a:p>
            <a:r>
              <a:rPr lang="en-US"/>
              <a:t>Presentation</a:t>
            </a:r>
            <a:br>
              <a:rPr lang="en-US"/>
            </a:br>
            <a:r>
              <a:rPr lang="en-US"/>
              <a:t>title here</a:t>
            </a:r>
          </a:p>
        </p:txBody>
      </p:sp>
      <p:sp>
        <p:nvSpPr>
          <p:cNvPr id="4" name="TextBox 3">
            <a:extLst>
              <a:ext uri="{FF2B5EF4-FFF2-40B4-BE49-F238E27FC236}">
                <a16:creationId xmlns:a16="http://schemas.microsoft.com/office/drawing/2014/main" id="{2E8F21DF-7F00-EB0A-CF1D-6557BF3221E5}"/>
              </a:ext>
            </a:extLst>
          </p:cNvPr>
          <p:cNvSpPr txBox="1"/>
          <p:nvPr userDrawn="1"/>
        </p:nvSpPr>
        <p:spPr>
          <a:xfrm>
            <a:off x="750529" y="6401580"/>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5 Lenovo Internal. All rights reserved.</a:t>
            </a:r>
          </a:p>
        </p:txBody>
      </p:sp>
    </p:spTree>
    <p:extLst>
      <p:ext uri="{BB962C8B-B14F-4D97-AF65-F5344CB8AC3E}">
        <p14:creationId xmlns:p14="http://schemas.microsoft.com/office/powerpoint/2010/main" val="523791507"/>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Alt">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D0CCA6-C34D-A5EF-9D63-BA192876AD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841351" y="0"/>
            <a:ext cx="5349446" cy="6858000"/>
          </a:xfrm>
          <a:prstGeom prst="rect">
            <a:avLst/>
          </a:prstGeom>
        </p:spPr>
      </p:pic>
      <p:pic>
        <p:nvPicPr>
          <p:cNvPr id="7" name="Picture 6" descr="A purple and black background&#10;&#10;Description automatically generated">
            <a:extLst>
              <a:ext uri="{FF2B5EF4-FFF2-40B4-BE49-F238E27FC236}">
                <a16:creationId xmlns:a16="http://schemas.microsoft.com/office/drawing/2014/main" id="{11F23808-AFF3-303E-456D-3D2D7243BD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436" y="0"/>
            <a:ext cx="6859786" cy="6858000"/>
          </a:xfrm>
          <a:prstGeom prst="rect">
            <a:avLst/>
          </a:prstGeom>
        </p:spPr>
      </p:pic>
      <p:sp>
        <p:nvSpPr>
          <p:cNvPr id="56" name="Title 16"/>
          <p:cNvSpPr>
            <a:spLocks noGrp="1"/>
          </p:cNvSpPr>
          <p:nvPr userDrawn="1">
            <p:ph type="title" hasCustomPrompt="1"/>
          </p:nvPr>
        </p:nvSpPr>
        <p:spPr bwMode="gray">
          <a:xfrm>
            <a:off x="750529" y="1524000"/>
            <a:ext cx="9914678" cy="3273368"/>
          </a:xfrm>
          <a:prstGeom prst="rect">
            <a:avLst/>
          </a:prstGeom>
        </p:spPr>
        <p:txBody>
          <a:bodyPr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bg1"/>
                </a:solidFill>
                <a:latin typeface="Arial" pitchFamily="34" charset="0"/>
                <a:ea typeface="+mn-ea"/>
                <a:cs typeface="Arial" pitchFamily="34" charset="0"/>
              </a:defRPr>
            </a:lvl1pPr>
          </a:lstStyle>
          <a:p>
            <a:r>
              <a:rPr lang="en-US"/>
              <a:t>Presentation</a:t>
            </a:r>
            <a:br>
              <a:rPr lang="en-US"/>
            </a:br>
            <a:r>
              <a:rPr lang="en-US"/>
              <a:t>title here</a:t>
            </a:r>
          </a:p>
        </p:txBody>
      </p:sp>
      <p:sp>
        <p:nvSpPr>
          <p:cNvPr id="4" name="TextBox 3">
            <a:extLst>
              <a:ext uri="{FF2B5EF4-FFF2-40B4-BE49-F238E27FC236}">
                <a16:creationId xmlns:a16="http://schemas.microsoft.com/office/drawing/2014/main" id="{2E8F21DF-7F00-EB0A-CF1D-6557BF3221E5}"/>
              </a:ext>
            </a:extLst>
          </p:cNvPr>
          <p:cNvSpPr txBox="1"/>
          <p:nvPr userDrawn="1"/>
        </p:nvSpPr>
        <p:spPr>
          <a:xfrm>
            <a:off x="750529" y="6401580"/>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5 Lenovo Internal. All rights reserved.</a:t>
            </a:r>
          </a:p>
        </p:txBody>
      </p:sp>
    </p:spTree>
    <p:extLst>
      <p:ext uri="{BB962C8B-B14F-4D97-AF65-F5344CB8AC3E}">
        <p14:creationId xmlns:p14="http://schemas.microsoft.com/office/powerpoint/2010/main" val="1935372392"/>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Title Slide_Black_Alt">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D0CCA6-C34D-A5EF-9D63-BA192876AD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6834380" y="0"/>
            <a:ext cx="5357621" cy="6858000"/>
          </a:xfrm>
          <a:prstGeom prst="rect">
            <a:avLst/>
          </a:prstGeom>
        </p:spPr>
      </p:pic>
      <p:pic>
        <p:nvPicPr>
          <p:cNvPr id="7" name="Picture 6" descr="A purple and black background&#10;&#10;Description automatically generated">
            <a:extLst>
              <a:ext uri="{FF2B5EF4-FFF2-40B4-BE49-F238E27FC236}">
                <a16:creationId xmlns:a16="http://schemas.microsoft.com/office/drawing/2014/main" id="{11F23808-AFF3-303E-456D-3D2D7243BD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436" y="0"/>
            <a:ext cx="6859786" cy="6858000"/>
          </a:xfrm>
          <a:prstGeom prst="rect">
            <a:avLst/>
          </a:prstGeom>
        </p:spPr>
      </p:pic>
      <p:sp>
        <p:nvSpPr>
          <p:cNvPr id="56" name="Title 16"/>
          <p:cNvSpPr>
            <a:spLocks noGrp="1"/>
          </p:cNvSpPr>
          <p:nvPr userDrawn="1">
            <p:ph type="title" hasCustomPrompt="1"/>
          </p:nvPr>
        </p:nvSpPr>
        <p:spPr bwMode="gray">
          <a:xfrm>
            <a:off x="750529" y="1524000"/>
            <a:ext cx="9914678" cy="3273368"/>
          </a:xfrm>
          <a:prstGeom prst="rect">
            <a:avLst/>
          </a:prstGeom>
        </p:spPr>
        <p:txBody>
          <a:bodyPr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bg1"/>
                </a:solidFill>
                <a:latin typeface="Arial" pitchFamily="34" charset="0"/>
                <a:ea typeface="+mn-ea"/>
                <a:cs typeface="Arial" pitchFamily="34" charset="0"/>
              </a:defRPr>
            </a:lvl1pPr>
          </a:lstStyle>
          <a:p>
            <a:r>
              <a:rPr lang="en-US"/>
              <a:t>Presentation</a:t>
            </a:r>
            <a:br>
              <a:rPr lang="en-US"/>
            </a:br>
            <a:r>
              <a:rPr lang="en-US"/>
              <a:t>title here</a:t>
            </a:r>
          </a:p>
        </p:txBody>
      </p:sp>
      <p:sp>
        <p:nvSpPr>
          <p:cNvPr id="4" name="TextBox 3">
            <a:extLst>
              <a:ext uri="{FF2B5EF4-FFF2-40B4-BE49-F238E27FC236}">
                <a16:creationId xmlns:a16="http://schemas.microsoft.com/office/drawing/2014/main" id="{2E8F21DF-7F00-EB0A-CF1D-6557BF3221E5}"/>
              </a:ext>
            </a:extLst>
          </p:cNvPr>
          <p:cNvSpPr txBox="1"/>
          <p:nvPr userDrawn="1"/>
        </p:nvSpPr>
        <p:spPr>
          <a:xfrm>
            <a:off x="750529" y="6401580"/>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5 Lenovo Internal. All rights reserved.</a:t>
            </a:r>
          </a:p>
        </p:txBody>
      </p:sp>
    </p:spTree>
    <p:extLst>
      <p:ext uri="{BB962C8B-B14F-4D97-AF65-F5344CB8AC3E}">
        <p14:creationId xmlns:p14="http://schemas.microsoft.com/office/powerpoint/2010/main" val="887736182"/>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99A0C0A2-1C95-CF60-15E7-57B445A89924}"/>
              </a:ext>
            </a:extLst>
          </p:cNvPr>
          <p:cNvSpPr>
            <a:spLocks noGrp="1"/>
          </p:cNvSpPr>
          <p:nvPr>
            <p:ph type="sldNum" sz="quarter" idx="10"/>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2824926375"/>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Only_Black">
    <p:bg>
      <p:bgPr>
        <a:solidFill>
          <a:srgbClr val="1E0013"/>
        </a:solidFill>
        <a:effectLst/>
      </p:bgPr>
    </p:bg>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A245D89D-54AB-A7D6-4141-95E6B3C3695D}"/>
              </a:ext>
            </a:extLst>
          </p:cNvPr>
          <p:cNvSpPr>
            <a:spLocks noGrp="1"/>
          </p:cNvSpPr>
          <p:nvPr>
            <p:ph type="sldNum" sz="quarter" idx="10"/>
          </p:nvPr>
        </p:nvSpPr>
        <p:spPr>
          <a:xfrm>
            <a:off x="11672569" y="6400800"/>
            <a:ext cx="439026" cy="155448"/>
          </a:xfrm>
          <a:prstGeom prst="rect">
            <a:avLst/>
          </a:prstGeom>
        </p:spPr>
        <p:txBody>
          <a:bodyPr/>
          <a:lstStyle>
            <a:lvl1pPr>
              <a:defRPr>
                <a:solidFill>
                  <a:schemeClr val="bg1"/>
                </a:solidFill>
              </a:defRPr>
            </a:lvl1pPr>
          </a:lstStyle>
          <a:p>
            <a:fld id="{6D22F896-40B5-4ADD-8801-0D06FADFA095}" type="slidenum">
              <a:rPr lang="en-US" smtClean="0"/>
              <a:pPr/>
              <a:t>‹#›</a:t>
            </a:fld>
            <a:endParaRPr lang="en-US"/>
          </a:p>
        </p:txBody>
      </p:sp>
      <p:grpSp>
        <p:nvGrpSpPr>
          <p:cNvPr id="4" name="Group 3">
            <a:extLst>
              <a:ext uri="{FF2B5EF4-FFF2-40B4-BE49-F238E27FC236}">
                <a16:creationId xmlns:a16="http://schemas.microsoft.com/office/drawing/2014/main" id="{CCAABBB4-7D55-33E5-2E99-BFB6C7D3A761}"/>
              </a:ext>
              <a:ext uri="{C183D7F6-B498-43B3-948B-1728B52AA6E4}">
                <adec:decorative xmlns:adec="http://schemas.microsoft.com/office/drawing/2017/decorative" val="1"/>
              </a:ext>
            </a:extLst>
          </p:cNvPr>
          <p:cNvGrpSpPr/>
          <p:nvPr userDrawn="1"/>
        </p:nvGrpSpPr>
        <p:grpSpPr>
          <a:xfrm>
            <a:off x="760611" y="6348283"/>
            <a:ext cx="3394460" cy="259316"/>
            <a:chOff x="760413" y="6348283"/>
            <a:chExt cx="3393576" cy="259316"/>
          </a:xfrm>
        </p:grpSpPr>
        <p:sp>
          <p:nvSpPr>
            <p:cNvPr id="5" name="TextBox 4">
              <a:extLst>
                <a:ext uri="{FF2B5EF4-FFF2-40B4-BE49-F238E27FC236}">
                  <a16:creationId xmlns:a16="http://schemas.microsoft.com/office/drawing/2014/main" id="{0C7DE1C1-7310-B4FC-AFF8-58DC0B915A43}"/>
                </a:ext>
              </a:extLst>
            </p:cNvPr>
            <p:cNvSpPr txBox="1"/>
            <p:nvPr/>
          </p:nvSpPr>
          <p:spPr>
            <a:xfrm>
              <a:off x="1602289" y="6401580"/>
              <a:ext cx="2551700" cy="138499"/>
            </a:xfrm>
            <a:prstGeom prst="rect">
              <a:avLst/>
            </a:prstGeom>
            <a:noFill/>
          </p:spPr>
          <p:txBody>
            <a:bodyPr wrap="square" lIns="0" tIns="0" rIns="0" bIns="0" rtlCol="0">
              <a:spAutoFit/>
            </a:bodyPr>
            <a:lstStyle/>
            <a:p>
              <a:r>
                <a:rPr lang="en-US" sz="900">
                  <a:solidFill>
                    <a:schemeClr val="bg1"/>
                  </a:solidFill>
                  <a:latin typeface="Arial" pitchFamily="34" charset="0"/>
                  <a:cs typeface="Arial" pitchFamily="34" charset="0"/>
                </a:rPr>
                <a:t>2025 Lenovo internal. All rights reserved.</a:t>
              </a:r>
            </a:p>
          </p:txBody>
        </p:sp>
        <p:grpSp>
          <p:nvGrpSpPr>
            <p:cNvPr id="6" name="Group 5">
              <a:extLst>
                <a:ext uri="{FF2B5EF4-FFF2-40B4-BE49-F238E27FC236}">
                  <a16:creationId xmlns:a16="http://schemas.microsoft.com/office/drawing/2014/main" id="{3C976A28-45AA-8E38-0696-C1B48D25DBC9}"/>
                </a:ext>
              </a:extLst>
            </p:cNvPr>
            <p:cNvGrpSpPr>
              <a:grpSpLocks noChangeAspect="1"/>
            </p:cNvGrpSpPr>
            <p:nvPr/>
          </p:nvGrpSpPr>
          <p:grpSpPr>
            <a:xfrm>
              <a:off x="760413" y="6348283"/>
              <a:ext cx="777240" cy="259316"/>
              <a:chOff x="547688" y="952500"/>
              <a:chExt cx="12190413" cy="4067175"/>
            </a:xfrm>
          </p:grpSpPr>
          <p:sp>
            <p:nvSpPr>
              <p:cNvPr id="7" name="Rectangle 6">
                <a:extLst>
                  <a:ext uri="{FF2B5EF4-FFF2-40B4-BE49-F238E27FC236}">
                    <a16:creationId xmlns:a16="http://schemas.microsoft.com/office/drawing/2014/main" id="{9388E4E2-34E2-5B3F-FA98-9D8DFA5993C1}"/>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 name="Freeform 7">
                <a:extLst>
                  <a:ext uri="{FF2B5EF4-FFF2-40B4-BE49-F238E27FC236}">
                    <a16:creationId xmlns:a16="http://schemas.microsoft.com/office/drawing/2014/main" id="{ECD3E5FE-B860-38E9-7E44-CDD579139A36}"/>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8">
                <a:extLst>
                  <a:ext uri="{FF2B5EF4-FFF2-40B4-BE49-F238E27FC236}">
                    <a16:creationId xmlns:a16="http://schemas.microsoft.com/office/drawing/2014/main" id="{B43C4A36-0D73-F39F-AFB3-85E511D9284E}"/>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9">
                <a:extLst>
                  <a:ext uri="{FF2B5EF4-FFF2-40B4-BE49-F238E27FC236}">
                    <a16:creationId xmlns:a16="http://schemas.microsoft.com/office/drawing/2014/main" id="{9B3D9D39-9CD6-F234-21D1-C4BA32CEAB0C}"/>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10">
                <a:extLst>
                  <a:ext uri="{FF2B5EF4-FFF2-40B4-BE49-F238E27FC236}">
                    <a16:creationId xmlns:a16="http://schemas.microsoft.com/office/drawing/2014/main" id="{80FBFBC0-3045-F773-0021-C79325BE666E}"/>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a:extLst>
                  <a:ext uri="{FF2B5EF4-FFF2-40B4-BE49-F238E27FC236}">
                    <a16:creationId xmlns:a16="http://schemas.microsoft.com/office/drawing/2014/main" id="{00D1AC40-7135-FC55-8F1C-F817ECF94C59}"/>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a:extLst>
                  <a:ext uri="{FF2B5EF4-FFF2-40B4-BE49-F238E27FC236}">
                    <a16:creationId xmlns:a16="http://schemas.microsoft.com/office/drawing/2014/main" id="{A640DADA-5F05-1052-BECB-2F42A869C1EC}"/>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Tree>
    <p:extLst>
      <p:ext uri="{BB962C8B-B14F-4D97-AF65-F5344CB8AC3E}">
        <p14:creationId xmlns:p14="http://schemas.microsoft.com/office/powerpoint/2010/main" val="3482247310"/>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Only_Black">
    <p:bg>
      <p:bgPr>
        <a:solidFill>
          <a:schemeClr val="bg1"/>
        </a:solidFill>
        <a:effectLst/>
      </p:bgPr>
    </p:bg>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A245D89D-54AB-A7D6-4141-95E6B3C3695D}"/>
              </a:ext>
            </a:extLst>
          </p:cNvPr>
          <p:cNvSpPr>
            <a:spLocks noGrp="1"/>
          </p:cNvSpPr>
          <p:nvPr>
            <p:ph type="sldNum" sz="quarter" idx="10"/>
          </p:nvPr>
        </p:nvSpPr>
        <p:spPr>
          <a:xfrm>
            <a:off x="11672569" y="6400800"/>
            <a:ext cx="439026" cy="155448"/>
          </a:xfrm>
          <a:prstGeom prst="rect">
            <a:avLst/>
          </a:prstGeom>
        </p:spPr>
        <p:txBody>
          <a:bodyPr/>
          <a:lstStyle>
            <a:lvl1pPr>
              <a:defRPr>
                <a:solidFill>
                  <a:schemeClr val="bg1"/>
                </a:solidFill>
              </a:defRPr>
            </a:lvl1pPr>
          </a:lstStyle>
          <a:p>
            <a:fld id="{6D22F896-40B5-4ADD-8801-0D06FADFA095}" type="slidenum">
              <a:rPr lang="en-US" smtClean="0"/>
              <a:pPr/>
              <a:t>‹#›</a:t>
            </a:fld>
            <a:endParaRPr lang="en-US"/>
          </a:p>
        </p:txBody>
      </p:sp>
      <p:grpSp>
        <p:nvGrpSpPr>
          <p:cNvPr id="4" name="Group 3">
            <a:extLst>
              <a:ext uri="{FF2B5EF4-FFF2-40B4-BE49-F238E27FC236}">
                <a16:creationId xmlns:a16="http://schemas.microsoft.com/office/drawing/2014/main" id="{CCAABBB4-7D55-33E5-2E99-BFB6C7D3A761}"/>
              </a:ext>
              <a:ext uri="{C183D7F6-B498-43B3-948B-1728B52AA6E4}">
                <adec:decorative xmlns:adec="http://schemas.microsoft.com/office/drawing/2017/decorative" val="1"/>
              </a:ext>
            </a:extLst>
          </p:cNvPr>
          <p:cNvGrpSpPr/>
          <p:nvPr userDrawn="1"/>
        </p:nvGrpSpPr>
        <p:grpSpPr>
          <a:xfrm>
            <a:off x="760611" y="6348283"/>
            <a:ext cx="3394460" cy="259316"/>
            <a:chOff x="760413" y="6348283"/>
            <a:chExt cx="3393576" cy="259316"/>
          </a:xfrm>
        </p:grpSpPr>
        <p:sp>
          <p:nvSpPr>
            <p:cNvPr id="5" name="TextBox 4">
              <a:extLst>
                <a:ext uri="{FF2B5EF4-FFF2-40B4-BE49-F238E27FC236}">
                  <a16:creationId xmlns:a16="http://schemas.microsoft.com/office/drawing/2014/main" id="{0C7DE1C1-7310-B4FC-AFF8-58DC0B915A43}"/>
                </a:ext>
              </a:extLst>
            </p:cNvPr>
            <p:cNvSpPr txBox="1"/>
            <p:nvPr/>
          </p:nvSpPr>
          <p:spPr>
            <a:xfrm>
              <a:off x="1602289" y="6401580"/>
              <a:ext cx="2551700" cy="138499"/>
            </a:xfrm>
            <a:prstGeom prst="rect">
              <a:avLst/>
            </a:prstGeom>
            <a:noFill/>
          </p:spPr>
          <p:txBody>
            <a:bodyPr wrap="square" lIns="0" tIns="0" rIns="0" bIns="0" rtlCol="0">
              <a:spAutoFit/>
            </a:bodyPr>
            <a:lstStyle/>
            <a:p>
              <a:r>
                <a:rPr lang="en-US" sz="900">
                  <a:solidFill>
                    <a:schemeClr val="bg1"/>
                  </a:solidFill>
                  <a:latin typeface="Arial" pitchFamily="34" charset="0"/>
                  <a:cs typeface="Arial" pitchFamily="34" charset="0"/>
                </a:rPr>
                <a:t>2025 Lenovo internal. All rights reserved.</a:t>
              </a:r>
            </a:p>
          </p:txBody>
        </p:sp>
        <p:grpSp>
          <p:nvGrpSpPr>
            <p:cNvPr id="6" name="Group 5">
              <a:extLst>
                <a:ext uri="{FF2B5EF4-FFF2-40B4-BE49-F238E27FC236}">
                  <a16:creationId xmlns:a16="http://schemas.microsoft.com/office/drawing/2014/main" id="{3C976A28-45AA-8E38-0696-C1B48D25DBC9}"/>
                </a:ext>
              </a:extLst>
            </p:cNvPr>
            <p:cNvGrpSpPr>
              <a:grpSpLocks noChangeAspect="1"/>
            </p:cNvGrpSpPr>
            <p:nvPr/>
          </p:nvGrpSpPr>
          <p:grpSpPr>
            <a:xfrm>
              <a:off x="760413" y="6348283"/>
              <a:ext cx="777240" cy="259316"/>
              <a:chOff x="547688" y="952500"/>
              <a:chExt cx="12190413" cy="4067175"/>
            </a:xfrm>
          </p:grpSpPr>
          <p:sp>
            <p:nvSpPr>
              <p:cNvPr id="7" name="Rectangle 6">
                <a:extLst>
                  <a:ext uri="{FF2B5EF4-FFF2-40B4-BE49-F238E27FC236}">
                    <a16:creationId xmlns:a16="http://schemas.microsoft.com/office/drawing/2014/main" id="{9388E4E2-34E2-5B3F-FA98-9D8DFA5993C1}"/>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 name="Freeform 7">
                <a:extLst>
                  <a:ext uri="{FF2B5EF4-FFF2-40B4-BE49-F238E27FC236}">
                    <a16:creationId xmlns:a16="http://schemas.microsoft.com/office/drawing/2014/main" id="{ECD3E5FE-B860-38E9-7E44-CDD579139A36}"/>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8">
                <a:extLst>
                  <a:ext uri="{FF2B5EF4-FFF2-40B4-BE49-F238E27FC236}">
                    <a16:creationId xmlns:a16="http://schemas.microsoft.com/office/drawing/2014/main" id="{B43C4A36-0D73-F39F-AFB3-85E511D9284E}"/>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9">
                <a:extLst>
                  <a:ext uri="{FF2B5EF4-FFF2-40B4-BE49-F238E27FC236}">
                    <a16:creationId xmlns:a16="http://schemas.microsoft.com/office/drawing/2014/main" id="{9B3D9D39-9CD6-F234-21D1-C4BA32CEAB0C}"/>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10">
                <a:extLst>
                  <a:ext uri="{FF2B5EF4-FFF2-40B4-BE49-F238E27FC236}">
                    <a16:creationId xmlns:a16="http://schemas.microsoft.com/office/drawing/2014/main" id="{80FBFBC0-3045-F773-0021-C79325BE666E}"/>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a:extLst>
                  <a:ext uri="{FF2B5EF4-FFF2-40B4-BE49-F238E27FC236}">
                    <a16:creationId xmlns:a16="http://schemas.microsoft.com/office/drawing/2014/main" id="{00D1AC40-7135-FC55-8F1C-F817ECF94C59}"/>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a:extLst>
                  <a:ext uri="{FF2B5EF4-FFF2-40B4-BE49-F238E27FC236}">
                    <a16:creationId xmlns:a16="http://schemas.microsoft.com/office/drawing/2014/main" id="{A640DADA-5F05-1052-BECB-2F42A869C1EC}"/>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Tree>
    <p:extLst>
      <p:ext uri="{BB962C8B-B14F-4D97-AF65-F5344CB8AC3E}">
        <p14:creationId xmlns:p14="http://schemas.microsoft.com/office/powerpoint/2010/main" val="2494430738"/>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with Subtitle Content">
    <p:bg>
      <p:bgPr>
        <a:solidFill>
          <a:schemeClr val="bg1"/>
        </a:solidFill>
        <a:effectLst/>
      </p:bgPr>
    </p:bg>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760610" y="1749388"/>
            <a:ext cx="10673829" cy="4346612"/>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tx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827BD319-CE6A-C56C-FAF4-F7D3C4B20C07}"/>
              </a:ext>
            </a:extLst>
          </p:cNvPr>
          <p:cNvSpPr>
            <a:spLocks noGrp="1"/>
          </p:cNvSpPr>
          <p:nvPr>
            <p:ph type="sldNum" sz="quarter" idx="11"/>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969180402"/>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Title Only_Black">
    <p:bg>
      <p:bgPr>
        <a:solidFill>
          <a:schemeClr val="bg1"/>
        </a:solidFill>
        <a:effectLst/>
      </p:bgPr>
    </p:bg>
    <p:spTree>
      <p:nvGrpSpPr>
        <p:cNvPr id="1" name=""/>
        <p:cNvGrpSpPr/>
        <p:nvPr/>
      </p:nvGrpSpPr>
      <p:grpSpPr>
        <a:xfrm>
          <a:off x="0" y="0"/>
          <a:ext cx="0" cy="0"/>
          <a:chOff x="0" y="0"/>
          <a:chExt cx="0" cy="0"/>
        </a:xfrm>
      </p:grpSpPr>
      <p:pic>
        <p:nvPicPr>
          <p:cNvPr id="6" name="Picture 5" descr="A purple and black background&#10;&#10;Description automatically generated">
            <a:extLst>
              <a:ext uri="{FF2B5EF4-FFF2-40B4-BE49-F238E27FC236}">
                <a16:creationId xmlns:a16="http://schemas.microsoft.com/office/drawing/2014/main" id="{8634C1A0-EE76-37B0-A40E-20133369F791}"/>
              </a:ext>
            </a:extLst>
          </p:cNvPr>
          <p:cNvPicPr>
            <a:picLocks noChangeAspect="1"/>
          </p:cNvPicPr>
          <p:nvPr userDrawn="1"/>
        </p:nvPicPr>
        <p:blipFill>
          <a:blip r:embed="rId2"/>
          <a:stretch>
            <a:fillRect/>
          </a:stretch>
        </p:blipFill>
        <p:spPr>
          <a:xfrm>
            <a:off x="1" y="893"/>
            <a:ext cx="12193590" cy="6857107"/>
          </a:xfrm>
          <a:prstGeom prst="rect">
            <a:avLst/>
          </a:prstGeom>
        </p:spPr>
      </p:pic>
      <p:sp>
        <p:nvSpPr>
          <p:cNvPr id="2" name="Slide Number Placeholder 1">
            <a:extLst>
              <a:ext uri="{FF2B5EF4-FFF2-40B4-BE49-F238E27FC236}">
                <a16:creationId xmlns:a16="http://schemas.microsoft.com/office/drawing/2014/main" id="{A245D89D-54AB-A7D6-4141-95E6B3C3695D}"/>
              </a:ext>
            </a:extLst>
          </p:cNvPr>
          <p:cNvSpPr>
            <a:spLocks noGrp="1"/>
          </p:cNvSpPr>
          <p:nvPr>
            <p:ph type="sldNum" sz="quarter" idx="10"/>
          </p:nvPr>
        </p:nvSpPr>
        <p:spPr>
          <a:xfrm>
            <a:off x="11672569" y="6400800"/>
            <a:ext cx="439026" cy="155448"/>
          </a:xfrm>
          <a:prstGeom prst="rect">
            <a:avLst/>
          </a:prstGeom>
        </p:spPr>
        <p:txBody>
          <a:bodyPr/>
          <a:lstStyle>
            <a:lvl1pPr>
              <a:defRPr>
                <a:solidFill>
                  <a:schemeClr val="bg1"/>
                </a:solidFill>
              </a:defRPr>
            </a:lvl1pPr>
          </a:lstStyle>
          <a:p>
            <a:fld id="{6D22F896-40B5-4ADD-8801-0D06FADFA095}" type="slidenum">
              <a:rPr lang="en-US" smtClean="0"/>
              <a:pPr/>
              <a:t>‹#›</a:t>
            </a:fld>
            <a:endParaRPr lang="en-US"/>
          </a:p>
        </p:txBody>
      </p:sp>
      <p:sp>
        <p:nvSpPr>
          <p:cNvPr id="5" name="Title 28">
            <a:extLst>
              <a:ext uri="{FF2B5EF4-FFF2-40B4-BE49-F238E27FC236}">
                <a16:creationId xmlns:a16="http://schemas.microsoft.com/office/drawing/2014/main" id="{93ECDBE7-8A84-6B8A-05BB-3DBE2AFF47E5}"/>
              </a:ext>
            </a:extLst>
          </p:cNvPr>
          <p:cNvSpPr>
            <a:spLocks noGrp="1"/>
          </p:cNvSpPr>
          <p:nvPr>
            <p:ph type="title" hasCustomPrompt="1"/>
          </p:nvPr>
        </p:nvSpPr>
        <p:spPr bwMode="gray">
          <a:xfrm>
            <a:off x="760611" y="442528"/>
            <a:ext cx="5335389" cy="1205798"/>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grpSp>
        <p:nvGrpSpPr>
          <p:cNvPr id="16" name="Group 15">
            <a:extLst>
              <a:ext uri="{FF2B5EF4-FFF2-40B4-BE49-F238E27FC236}">
                <a16:creationId xmlns:a16="http://schemas.microsoft.com/office/drawing/2014/main" id="{DB37B8C7-D521-38AB-18A3-722DA0641C18}"/>
              </a:ext>
              <a:ext uri="{C183D7F6-B498-43B3-948B-1728B52AA6E4}">
                <adec:decorative xmlns:adec="http://schemas.microsoft.com/office/drawing/2017/decorative" val="1"/>
              </a:ext>
            </a:extLst>
          </p:cNvPr>
          <p:cNvGrpSpPr/>
          <p:nvPr userDrawn="1"/>
        </p:nvGrpSpPr>
        <p:grpSpPr>
          <a:xfrm>
            <a:off x="760611" y="6348283"/>
            <a:ext cx="3394460" cy="259316"/>
            <a:chOff x="760413" y="6348283"/>
            <a:chExt cx="3393576" cy="259316"/>
          </a:xfrm>
        </p:grpSpPr>
        <p:sp>
          <p:nvSpPr>
            <p:cNvPr id="17" name="TextBox 16">
              <a:extLst>
                <a:ext uri="{FF2B5EF4-FFF2-40B4-BE49-F238E27FC236}">
                  <a16:creationId xmlns:a16="http://schemas.microsoft.com/office/drawing/2014/main" id="{DAE8DAAD-DEA1-BF54-DC9C-142195885EDB}"/>
                </a:ext>
              </a:extLst>
            </p:cNvPr>
            <p:cNvSpPr txBox="1"/>
            <p:nvPr/>
          </p:nvSpPr>
          <p:spPr>
            <a:xfrm>
              <a:off x="1602289" y="6401580"/>
              <a:ext cx="2551700" cy="138499"/>
            </a:xfrm>
            <a:prstGeom prst="rect">
              <a:avLst/>
            </a:prstGeom>
            <a:noFill/>
          </p:spPr>
          <p:txBody>
            <a:bodyPr wrap="square" lIns="0" tIns="0" rIns="0" bIns="0" rtlCol="0">
              <a:spAutoFit/>
            </a:bodyPr>
            <a:lstStyle/>
            <a:p>
              <a:r>
                <a:rPr lang="en-US" sz="900">
                  <a:solidFill>
                    <a:schemeClr val="bg1"/>
                  </a:solidFill>
                  <a:latin typeface="Arial" pitchFamily="34" charset="0"/>
                  <a:cs typeface="Arial" pitchFamily="34" charset="0"/>
                </a:rPr>
                <a:t>2025 Lenovo internal. All rights reserved.</a:t>
              </a:r>
            </a:p>
          </p:txBody>
        </p:sp>
        <p:grpSp>
          <p:nvGrpSpPr>
            <p:cNvPr id="18" name="Group 17">
              <a:extLst>
                <a:ext uri="{FF2B5EF4-FFF2-40B4-BE49-F238E27FC236}">
                  <a16:creationId xmlns:a16="http://schemas.microsoft.com/office/drawing/2014/main" id="{402B950C-01A4-A1C2-E78A-15099BEBF3DB}"/>
                </a:ext>
              </a:extLst>
            </p:cNvPr>
            <p:cNvGrpSpPr>
              <a:grpSpLocks noChangeAspect="1"/>
            </p:cNvGrpSpPr>
            <p:nvPr/>
          </p:nvGrpSpPr>
          <p:grpSpPr>
            <a:xfrm>
              <a:off x="760413" y="6348283"/>
              <a:ext cx="777240" cy="259316"/>
              <a:chOff x="547688" y="952500"/>
              <a:chExt cx="12190413" cy="4067175"/>
            </a:xfrm>
          </p:grpSpPr>
          <p:sp>
            <p:nvSpPr>
              <p:cNvPr id="19" name="Rectangle 18">
                <a:extLst>
                  <a:ext uri="{FF2B5EF4-FFF2-40B4-BE49-F238E27FC236}">
                    <a16:creationId xmlns:a16="http://schemas.microsoft.com/office/drawing/2014/main" id="{DB8D633D-05B9-820F-282C-09E26C86B7D2}"/>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9">
                <a:extLst>
                  <a:ext uri="{FF2B5EF4-FFF2-40B4-BE49-F238E27FC236}">
                    <a16:creationId xmlns:a16="http://schemas.microsoft.com/office/drawing/2014/main" id="{9CCD4406-D66B-00BA-18D0-C70DC2D1921C}"/>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20">
                <a:extLst>
                  <a:ext uri="{FF2B5EF4-FFF2-40B4-BE49-F238E27FC236}">
                    <a16:creationId xmlns:a16="http://schemas.microsoft.com/office/drawing/2014/main" id="{E463EE7E-51FB-E759-8688-112657709D69}"/>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21">
                <a:extLst>
                  <a:ext uri="{FF2B5EF4-FFF2-40B4-BE49-F238E27FC236}">
                    <a16:creationId xmlns:a16="http://schemas.microsoft.com/office/drawing/2014/main" id="{767F92C5-BBA3-6594-E19B-EBE06094FDFC}"/>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22">
                <a:extLst>
                  <a:ext uri="{FF2B5EF4-FFF2-40B4-BE49-F238E27FC236}">
                    <a16:creationId xmlns:a16="http://schemas.microsoft.com/office/drawing/2014/main" id="{23B49184-7956-9778-2081-322D346C1074}"/>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10">
                <a:extLst>
                  <a:ext uri="{FF2B5EF4-FFF2-40B4-BE49-F238E27FC236}">
                    <a16:creationId xmlns:a16="http://schemas.microsoft.com/office/drawing/2014/main" id="{CDEDA320-3A63-81CB-48C7-BBBDD686B1BF}"/>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11">
                <a:extLst>
                  <a:ext uri="{FF2B5EF4-FFF2-40B4-BE49-F238E27FC236}">
                    <a16:creationId xmlns:a16="http://schemas.microsoft.com/office/drawing/2014/main" id="{735CF9FC-6242-F68E-5662-ABDABCEF2D46}"/>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
        <p:nvSpPr>
          <p:cNvPr id="26" name="TextBox 25">
            <a:extLst>
              <a:ext uri="{FF2B5EF4-FFF2-40B4-BE49-F238E27FC236}">
                <a16:creationId xmlns:a16="http://schemas.microsoft.com/office/drawing/2014/main" id="{66F377CC-91EB-BDC2-895E-525519C3E75A}"/>
              </a:ext>
            </a:extLst>
          </p:cNvPr>
          <p:cNvSpPr txBox="1"/>
          <p:nvPr userDrawn="1"/>
        </p:nvSpPr>
        <p:spPr>
          <a:xfrm>
            <a:off x="9622497" y="6360568"/>
            <a:ext cx="1919240" cy="230832"/>
          </a:xfrm>
          <a:prstGeom prst="rect">
            <a:avLst/>
          </a:prstGeom>
          <a:noFill/>
        </p:spPr>
        <p:txBody>
          <a:bodyPr wrap="square" rtlCol="0">
            <a:spAutoFit/>
          </a:bodyPr>
          <a:lstStyle/>
          <a:p>
            <a:pPr algn="r"/>
            <a:r>
              <a:rPr lang="en-US" sz="900">
                <a:solidFill>
                  <a:schemeClr val="bg1"/>
                </a:solidFill>
                <a:latin typeface="Arial" panose="020B0604020202020204" pitchFamily="34" charset="0"/>
                <a:cs typeface="Arial" panose="020B0604020202020204" pitchFamily="34" charset="0"/>
              </a:rPr>
              <a:t>FOR INTERNAL USE ONLY</a:t>
            </a:r>
          </a:p>
        </p:txBody>
      </p:sp>
    </p:spTree>
    <p:extLst>
      <p:ext uri="{BB962C8B-B14F-4D97-AF65-F5344CB8AC3E}">
        <p14:creationId xmlns:p14="http://schemas.microsoft.com/office/powerpoint/2010/main" val="4274240554"/>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with Subtitle Only">
    <p:bg>
      <p:bgPr>
        <a:solidFill>
          <a:schemeClr val="bg1"/>
        </a:solidFill>
        <a:effectLst/>
      </p:bgPr>
    </p:bg>
    <p:spTree>
      <p:nvGrpSpPr>
        <p:cNvPr id="1" name=""/>
        <p:cNvGrpSpPr/>
        <p:nvPr/>
      </p:nvGrpSpPr>
      <p:grpSpPr>
        <a:xfrm>
          <a:off x="0" y="0"/>
          <a:ext cx="0" cy="0"/>
          <a:chOff x="0" y="0"/>
          <a:chExt cx="0" cy="0"/>
        </a:xfrm>
      </p:grpSpPr>
      <p:sp>
        <p:nvSpPr>
          <p:cNvPr id="23" name="Text Placeholder 2"/>
          <p:cNvSpPr>
            <a:spLocks noGrp="1"/>
          </p:cNvSpPr>
          <p:nvPr>
            <p:ph type="body" idx="10" hasCustomPrompt="1"/>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tx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C55B6443-4299-282C-565B-68E5F9702780}"/>
              </a:ext>
            </a:extLst>
          </p:cNvPr>
          <p:cNvSpPr>
            <a:spLocks noGrp="1"/>
          </p:cNvSpPr>
          <p:nvPr>
            <p:ph type="sldNum" sz="quarter" idx="11"/>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2494909058"/>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760611" y="1308880"/>
            <a:ext cx="10673828" cy="4787120"/>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0BC5559F-D4D6-DA53-A720-07C2A2D68FA6}"/>
              </a:ext>
            </a:extLst>
          </p:cNvPr>
          <p:cNvSpPr>
            <a:spLocks noGrp="1"/>
          </p:cNvSpPr>
          <p:nvPr>
            <p:ph type="sldNum" sz="quarter" idx="10"/>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969368992"/>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BC5559F-D4D6-DA53-A720-07C2A2D68FA6}"/>
              </a:ext>
            </a:extLst>
          </p:cNvPr>
          <p:cNvSpPr>
            <a:spLocks noGrp="1"/>
          </p:cNvSpPr>
          <p:nvPr>
            <p:ph type="sldNum" sz="quarter" idx="10"/>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
        <p:nvSpPr>
          <p:cNvPr id="35" name="Title 28">
            <a:extLst>
              <a:ext uri="{FF2B5EF4-FFF2-40B4-BE49-F238E27FC236}">
                <a16:creationId xmlns:a16="http://schemas.microsoft.com/office/drawing/2014/main" id="{4D06AA26-F915-4482-943C-39E44C973F87}"/>
              </a:ext>
            </a:extLst>
          </p:cNvPr>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4" name="Picture Placeholder 3">
            <a:extLst>
              <a:ext uri="{FF2B5EF4-FFF2-40B4-BE49-F238E27FC236}">
                <a16:creationId xmlns:a16="http://schemas.microsoft.com/office/drawing/2014/main" id="{15A67503-2ED6-44DE-98E0-2006F15675FF}"/>
              </a:ext>
            </a:extLst>
          </p:cNvPr>
          <p:cNvSpPr>
            <a:spLocks noGrp="1"/>
          </p:cNvSpPr>
          <p:nvPr>
            <p:ph type="pic" sz="quarter" idx="11"/>
          </p:nvPr>
        </p:nvSpPr>
        <p:spPr>
          <a:xfrm>
            <a:off x="765436" y="1144588"/>
            <a:ext cx="1263979" cy="1511300"/>
          </a:xfrm>
          <a:prstGeom prst="rect">
            <a:avLst/>
          </a:prstGeom>
          <a:solidFill>
            <a:schemeClr val="bg1">
              <a:lumMod val="95000"/>
            </a:schemeClr>
          </a:solidFill>
        </p:spPr>
        <p:txBody>
          <a:bodyPr anchor="ctr" anchorCtr="0"/>
          <a:lstStyle>
            <a:lvl1pPr marL="0" indent="0" algn="ctr">
              <a:buNone/>
              <a:defRPr sz="1400"/>
            </a:lvl1pPr>
          </a:lstStyle>
          <a:p>
            <a:r>
              <a:rPr lang="en-US"/>
              <a:t>Click icon to add picture</a:t>
            </a:r>
          </a:p>
        </p:txBody>
      </p:sp>
      <p:sp>
        <p:nvSpPr>
          <p:cNvPr id="37" name="Picture Placeholder 3">
            <a:extLst>
              <a:ext uri="{FF2B5EF4-FFF2-40B4-BE49-F238E27FC236}">
                <a16:creationId xmlns:a16="http://schemas.microsoft.com/office/drawing/2014/main" id="{AA124289-2FC5-49CB-AA11-01D5543A680D}"/>
              </a:ext>
            </a:extLst>
          </p:cNvPr>
          <p:cNvSpPr>
            <a:spLocks noGrp="1"/>
          </p:cNvSpPr>
          <p:nvPr>
            <p:ph type="pic" sz="quarter" idx="12"/>
          </p:nvPr>
        </p:nvSpPr>
        <p:spPr>
          <a:xfrm>
            <a:off x="6235415" y="1144588"/>
            <a:ext cx="1263979" cy="1511300"/>
          </a:xfrm>
          <a:prstGeom prst="rect">
            <a:avLst/>
          </a:prstGeom>
          <a:solidFill>
            <a:schemeClr val="bg1">
              <a:lumMod val="95000"/>
            </a:schemeClr>
          </a:solidFill>
        </p:spPr>
        <p:txBody>
          <a:bodyPr anchor="ctr" anchorCtr="0"/>
          <a:lstStyle>
            <a:lvl1pPr marL="0" indent="0" algn="ctr">
              <a:buNone/>
              <a:defRPr sz="1400"/>
            </a:lvl1pPr>
          </a:lstStyle>
          <a:p>
            <a:r>
              <a:rPr lang="en-US"/>
              <a:t>Click icon to add picture</a:t>
            </a:r>
          </a:p>
        </p:txBody>
      </p:sp>
    </p:spTree>
    <p:extLst>
      <p:ext uri="{BB962C8B-B14F-4D97-AF65-F5344CB8AC3E}">
        <p14:creationId xmlns:p14="http://schemas.microsoft.com/office/powerpoint/2010/main" val="1155056"/>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6" name="Slide Number Placeholder 7">
            <a:extLst>
              <a:ext uri="{FF2B5EF4-FFF2-40B4-BE49-F238E27FC236}">
                <a16:creationId xmlns:a16="http://schemas.microsoft.com/office/drawing/2014/main" id="{F91207CA-3BE9-4C17-8CC2-5FD0216FF7A6}"/>
              </a:ext>
            </a:extLst>
          </p:cNvPr>
          <p:cNvSpPr>
            <a:spLocks noGrp="1"/>
          </p:cNvSpPr>
          <p:nvPr>
            <p:ph type="sldNum" sz="quarter" idx="10"/>
          </p:nvPr>
        </p:nvSpPr>
        <p:spPr>
          <a:xfrm>
            <a:off x="11672569" y="6400800"/>
            <a:ext cx="439026" cy="155448"/>
          </a:xfrm>
          <a:prstGeom prst="rect">
            <a:avLst/>
          </a:prstGeom>
        </p:spPr>
        <p:txBody>
          <a:bodyPr/>
          <a:lstStyle/>
          <a:p>
            <a:pPr>
              <a:defRPr/>
            </a:pPr>
            <a:fld id="{6D22F896-40B5-4ADD-8801-0D06FADFA095}" type="slidenum">
              <a:rPr lang="en-US" smtClean="0">
                <a:solidFill>
                  <a:srgbClr val="000000"/>
                </a:solidFill>
              </a:rPr>
              <a:pPr>
                <a:defRPr/>
              </a:pPr>
              <a:t>‹#›</a:t>
            </a:fld>
            <a:endParaRPr lang="en-US">
              <a:solidFill>
                <a:srgbClr val="000000"/>
              </a:solidFill>
            </a:endParaRPr>
          </a:p>
        </p:txBody>
      </p:sp>
      <p:sp>
        <p:nvSpPr>
          <p:cNvPr id="89" name="Picture Placeholder 3">
            <a:extLst>
              <a:ext uri="{FF2B5EF4-FFF2-40B4-BE49-F238E27FC236}">
                <a16:creationId xmlns:a16="http://schemas.microsoft.com/office/drawing/2014/main" id="{071DFB7E-59D3-44DE-8996-FAE5A47FF11D}"/>
              </a:ext>
            </a:extLst>
          </p:cNvPr>
          <p:cNvSpPr>
            <a:spLocks noGrp="1"/>
          </p:cNvSpPr>
          <p:nvPr userDrawn="1">
            <p:ph type="pic" sz="quarter" idx="11"/>
          </p:nvPr>
        </p:nvSpPr>
        <p:spPr>
          <a:xfrm>
            <a:off x="765436" y="1144457"/>
            <a:ext cx="1263979" cy="1511300"/>
          </a:xfrm>
          <a:prstGeom prst="rect">
            <a:avLst/>
          </a:prstGeom>
          <a:solidFill>
            <a:schemeClr val="bg1">
              <a:lumMod val="95000"/>
            </a:schemeClr>
          </a:solidFill>
        </p:spPr>
        <p:txBody>
          <a:bodyPr anchor="ctr" anchorCtr="0"/>
          <a:lstStyle>
            <a:lvl1pPr marL="0" indent="0" algn="ctr">
              <a:buNone/>
              <a:defRPr sz="1400"/>
            </a:lvl1pPr>
          </a:lstStyle>
          <a:p>
            <a:r>
              <a:rPr lang="en-US"/>
              <a:t>Click icon to add picture</a:t>
            </a:r>
          </a:p>
        </p:txBody>
      </p:sp>
      <p:sp>
        <p:nvSpPr>
          <p:cNvPr id="90" name="Title 28">
            <a:extLst>
              <a:ext uri="{FF2B5EF4-FFF2-40B4-BE49-F238E27FC236}">
                <a16:creationId xmlns:a16="http://schemas.microsoft.com/office/drawing/2014/main" id="{BBA47EC1-ECF7-4028-8512-0085B63E6171}"/>
              </a:ext>
            </a:extLst>
          </p:cNvPr>
          <p:cNvSpPr>
            <a:spLocks noGrp="1"/>
          </p:cNvSpPr>
          <p:nvPr userDrawn="1">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93" name="Picture Placeholder 3">
            <a:extLst>
              <a:ext uri="{FF2B5EF4-FFF2-40B4-BE49-F238E27FC236}">
                <a16:creationId xmlns:a16="http://schemas.microsoft.com/office/drawing/2014/main" id="{97942604-6A6D-4300-9F5E-F665021CDD91}"/>
              </a:ext>
            </a:extLst>
          </p:cNvPr>
          <p:cNvSpPr>
            <a:spLocks noGrp="1"/>
          </p:cNvSpPr>
          <p:nvPr userDrawn="1">
            <p:ph type="pic" sz="quarter" idx="12"/>
          </p:nvPr>
        </p:nvSpPr>
        <p:spPr>
          <a:xfrm>
            <a:off x="765436" y="2867087"/>
            <a:ext cx="1263979" cy="1511300"/>
          </a:xfrm>
          <a:prstGeom prst="rect">
            <a:avLst/>
          </a:prstGeom>
          <a:solidFill>
            <a:schemeClr val="bg1">
              <a:lumMod val="95000"/>
            </a:schemeClr>
          </a:solidFill>
        </p:spPr>
        <p:txBody>
          <a:bodyPr anchor="ctr" anchorCtr="0"/>
          <a:lstStyle>
            <a:lvl1pPr marL="0" indent="0" algn="ctr">
              <a:buNone/>
              <a:defRPr sz="1400"/>
            </a:lvl1pPr>
          </a:lstStyle>
          <a:p>
            <a:r>
              <a:rPr lang="en-US"/>
              <a:t>Click icon to add picture</a:t>
            </a:r>
          </a:p>
        </p:txBody>
      </p:sp>
      <p:sp>
        <p:nvSpPr>
          <p:cNvPr id="94" name="Picture Placeholder 3">
            <a:extLst>
              <a:ext uri="{FF2B5EF4-FFF2-40B4-BE49-F238E27FC236}">
                <a16:creationId xmlns:a16="http://schemas.microsoft.com/office/drawing/2014/main" id="{AA2E7F24-9350-4567-945B-9474BC4996F5}"/>
              </a:ext>
            </a:extLst>
          </p:cNvPr>
          <p:cNvSpPr>
            <a:spLocks noGrp="1"/>
          </p:cNvSpPr>
          <p:nvPr userDrawn="1">
            <p:ph type="pic" sz="quarter" idx="13"/>
          </p:nvPr>
        </p:nvSpPr>
        <p:spPr>
          <a:xfrm>
            <a:off x="765436" y="4589717"/>
            <a:ext cx="1263979" cy="1511300"/>
          </a:xfrm>
          <a:prstGeom prst="rect">
            <a:avLst/>
          </a:prstGeom>
          <a:solidFill>
            <a:schemeClr val="bg1">
              <a:lumMod val="95000"/>
            </a:schemeClr>
          </a:solidFill>
        </p:spPr>
        <p:txBody>
          <a:bodyPr anchor="ctr" anchorCtr="0"/>
          <a:lstStyle>
            <a:lvl1pPr marL="0" indent="0" algn="ctr">
              <a:buNone/>
              <a:defRPr sz="1400"/>
            </a:lvl1pPr>
          </a:lstStyle>
          <a:p>
            <a:r>
              <a:rPr lang="en-US"/>
              <a:t>Click icon to add picture</a:t>
            </a:r>
          </a:p>
        </p:txBody>
      </p:sp>
      <p:sp>
        <p:nvSpPr>
          <p:cNvPr id="98" name="Picture Placeholder 3">
            <a:extLst>
              <a:ext uri="{FF2B5EF4-FFF2-40B4-BE49-F238E27FC236}">
                <a16:creationId xmlns:a16="http://schemas.microsoft.com/office/drawing/2014/main" id="{A79280A8-55A4-44A0-B321-26E1046FFB5E}"/>
              </a:ext>
            </a:extLst>
          </p:cNvPr>
          <p:cNvSpPr>
            <a:spLocks noGrp="1"/>
          </p:cNvSpPr>
          <p:nvPr>
            <p:ph type="pic" sz="quarter" idx="14"/>
          </p:nvPr>
        </p:nvSpPr>
        <p:spPr>
          <a:xfrm>
            <a:off x="6223984" y="1144457"/>
            <a:ext cx="1263979" cy="1511300"/>
          </a:xfrm>
          <a:prstGeom prst="rect">
            <a:avLst/>
          </a:prstGeom>
          <a:solidFill>
            <a:schemeClr val="bg1">
              <a:lumMod val="95000"/>
            </a:schemeClr>
          </a:solidFill>
        </p:spPr>
        <p:txBody>
          <a:bodyPr anchor="ctr" anchorCtr="0"/>
          <a:lstStyle>
            <a:lvl1pPr marL="0" indent="0" algn="ctr">
              <a:buNone/>
              <a:defRPr sz="1400"/>
            </a:lvl1pPr>
          </a:lstStyle>
          <a:p>
            <a:r>
              <a:rPr lang="en-US"/>
              <a:t>Click icon to add picture</a:t>
            </a:r>
          </a:p>
        </p:txBody>
      </p:sp>
      <p:sp>
        <p:nvSpPr>
          <p:cNvPr id="99" name="Picture Placeholder 3">
            <a:extLst>
              <a:ext uri="{FF2B5EF4-FFF2-40B4-BE49-F238E27FC236}">
                <a16:creationId xmlns:a16="http://schemas.microsoft.com/office/drawing/2014/main" id="{B7DDBE6E-17A6-42A7-9C9B-D064BB45CEE2}"/>
              </a:ext>
            </a:extLst>
          </p:cNvPr>
          <p:cNvSpPr>
            <a:spLocks noGrp="1"/>
          </p:cNvSpPr>
          <p:nvPr>
            <p:ph type="pic" sz="quarter" idx="15"/>
          </p:nvPr>
        </p:nvSpPr>
        <p:spPr>
          <a:xfrm>
            <a:off x="6223984" y="2867087"/>
            <a:ext cx="1263979" cy="1511300"/>
          </a:xfrm>
          <a:prstGeom prst="rect">
            <a:avLst/>
          </a:prstGeom>
          <a:solidFill>
            <a:schemeClr val="bg1">
              <a:lumMod val="95000"/>
            </a:schemeClr>
          </a:solidFill>
        </p:spPr>
        <p:txBody>
          <a:bodyPr anchor="ctr" anchorCtr="0"/>
          <a:lstStyle>
            <a:lvl1pPr marL="0" indent="0" algn="ctr">
              <a:buNone/>
              <a:defRPr sz="1400"/>
            </a:lvl1pPr>
          </a:lstStyle>
          <a:p>
            <a:r>
              <a:rPr lang="en-US"/>
              <a:t>Click icon to add picture</a:t>
            </a:r>
          </a:p>
        </p:txBody>
      </p:sp>
      <p:sp>
        <p:nvSpPr>
          <p:cNvPr id="100" name="Picture Placeholder 3">
            <a:extLst>
              <a:ext uri="{FF2B5EF4-FFF2-40B4-BE49-F238E27FC236}">
                <a16:creationId xmlns:a16="http://schemas.microsoft.com/office/drawing/2014/main" id="{BA9A3BED-9269-49B7-B2AF-6027C5A39640}"/>
              </a:ext>
            </a:extLst>
          </p:cNvPr>
          <p:cNvSpPr>
            <a:spLocks noGrp="1"/>
          </p:cNvSpPr>
          <p:nvPr>
            <p:ph type="pic" sz="quarter" idx="16"/>
          </p:nvPr>
        </p:nvSpPr>
        <p:spPr>
          <a:xfrm>
            <a:off x="6223984" y="4589717"/>
            <a:ext cx="1263979" cy="1511300"/>
          </a:xfrm>
          <a:prstGeom prst="rect">
            <a:avLst/>
          </a:prstGeom>
          <a:solidFill>
            <a:schemeClr val="bg1">
              <a:lumMod val="95000"/>
            </a:schemeClr>
          </a:solidFill>
        </p:spPr>
        <p:txBody>
          <a:bodyPr anchor="ctr" anchorCtr="0"/>
          <a:lstStyle>
            <a:lvl1pPr marL="0" indent="0" algn="ctr">
              <a:buNone/>
              <a:defRPr sz="1400"/>
            </a:lvl1pPr>
          </a:lstStyle>
          <a:p>
            <a:r>
              <a:rPr lang="en-US"/>
              <a:t>Click icon to add picture</a:t>
            </a:r>
          </a:p>
        </p:txBody>
      </p:sp>
    </p:spTree>
    <p:extLst>
      <p:ext uri="{BB962C8B-B14F-4D97-AF65-F5344CB8AC3E}">
        <p14:creationId xmlns:p14="http://schemas.microsoft.com/office/powerpoint/2010/main" val="2876704350"/>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FE319A93-1EE8-4DF0-8C0F-BA2E40F23D79}"/>
              </a:ext>
            </a:extLst>
          </p:cNvPr>
          <p:cNvCxnSpPr>
            <a:cxnSpLocks/>
          </p:cNvCxnSpPr>
          <p:nvPr userDrawn="1"/>
        </p:nvCxnSpPr>
        <p:spPr>
          <a:xfrm>
            <a:off x="5680679" y="2343150"/>
            <a:ext cx="0" cy="591618"/>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3C8B807-1945-4D9E-B448-C1E97436D660}"/>
              </a:ext>
            </a:extLst>
          </p:cNvPr>
          <p:cNvCxnSpPr>
            <a:cxnSpLocks/>
          </p:cNvCxnSpPr>
          <p:nvPr userDrawn="1"/>
        </p:nvCxnSpPr>
        <p:spPr>
          <a:xfrm>
            <a:off x="1152675" y="2704148"/>
            <a:ext cx="0" cy="23062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F2703DD-1A37-453B-892F-8C17D1969445}"/>
              </a:ext>
            </a:extLst>
          </p:cNvPr>
          <p:cNvCxnSpPr>
            <a:cxnSpLocks/>
          </p:cNvCxnSpPr>
          <p:nvPr userDrawn="1"/>
        </p:nvCxnSpPr>
        <p:spPr>
          <a:xfrm>
            <a:off x="3410659" y="2720182"/>
            <a:ext cx="0" cy="21458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A54B372-2AE9-4F06-AB8D-563121DAED07}"/>
              </a:ext>
            </a:extLst>
          </p:cNvPr>
          <p:cNvCxnSpPr>
            <a:cxnSpLocks/>
          </p:cNvCxnSpPr>
          <p:nvPr userDrawn="1"/>
        </p:nvCxnSpPr>
        <p:spPr>
          <a:xfrm>
            <a:off x="7934988" y="2720182"/>
            <a:ext cx="0" cy="21458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AB52C25-74F9-41DD-8CB1-FED7D59A9D4E}"/>
              </a:ext>
            </a:extLst>
          </p:cNvPr>
          <p:cNvCxnSpPr>
            <a:cxnSpLocks/>
          </p:cNvCxnSpPr>
          <p:nvPr userDrawn="1"/>
        </p:nvCxnSpPr>
        <p:spPr>
          <a:xfrm>
            <a:off x="10183971" y="2704148"/>
            <a:ext cx="0" cy="23062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F9FF1D9-795C-4CBA-B6AD-0D44C487DF2B}"/>
              </a:ext>
            </a:extLst>
          </p:cNvPr>
          <p:cNvCxnSpPr>
            <a:cxnSpLocks/>
          </p:cNvCxnSpPr>
          <p:nvPr userDrawn="1"/>
        </p:nvCxnSpPr>
        <p:spPr>
          <a:xfrm>
            <a:off x="1152675" y="2711965"/>
            <a:ext cx="903129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Freeform: Shape 40">
            <a:extLst>
              <a:ext uri="{FF2B5EF4-FFF2-40B4-BE49-F238E27FC236}">
                <a16:creationId xmlns:a16="http://schemas.microsoft.com/office/drawing/2014/main" id="{0AA6CBBA-3F36-4849-8752-93C041F6423F}"/>
              </a:ext>
            </a:extLst>
          </p:cNvPr>
          <p:cNvSpPr/>
          <p:nvPr userDrawn="1"/>
        </p:nvSpPr>
        <p:spPr>
          <a:xfrm>
            <a:off x="4843425" y="1973898"/>
            <a:ext cx="1674508" cy="3600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lang="en-GB" sz="1400" b="1">
                <a:solidFill>
                  <a:srgbClr val="1E0113"/>
                </a:solidFill>
                <a:latin typeface="Arial"/>
              </a:rPr>
              <a:t>First Last</a:t>
            </a:r>
            <a:br>
              <a:rPr lang="en-US" sz="1400">
                <a:solidFill>
                  <a:srgbClr val="1E0113"/>
                </a:solidFill>
                <a:latin typeface="Arial"/>
              </a:rPr>
            </a:br>
            <a:r>
              <a:rPr lang="en-US" sz="1200">
                <a:solidFill>
                  <a:srgbClr val="1E0113"/>
                </a:solidFill>
                <a:latin typeface="Arial"/>
              </a:rPr>
              <a:t>Title</a:t>
            </a:r>
            <a:endParaRPr lang="en-GB" sz="1200">
              <a:solidFill>
                <a:srgbClr val="1E0113"/>
              </a:solidFill>
              <a:latin typeface="Arial"/>
            </a:endParaRPr>
          </a:p>
        </p:txBody>
      </p:sp>
      <p:sp>
        <p:nvSpPr>
          <p:cNvPr id="51" name="Freeform: Shape 50">
            <a:extLst>
              <a:ext uri="{FF2B5EF4-FFF2-40B4-BE49-F238E27FC236}">
                <a16:creationId xmlns:a16="http://schemas.microsoft.com/office/drawing/2014/main" id="{8D85AFB8-023B-4759-BD5F-6073003FD8E0}"/>
              </a:ext>
            </a:extLst>
          </p:cNvPr>
          <p:cNvSpPr/>
          <p:nvPr userDrawn="1"/>
        </p:nvSpPr>
        <p:spPr>
          <a:xfrm>
            <a:off x="303385" y="3719622"/>
            <a:ext cx="1674508" cy="3600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lang="en-GB" sz="1400" b="1">
                <a:solidFill>
                  <a:srgbClr val="1E0113"/>
                </a:solidFill>
                <a:latin typeface="Arial"/>
              </a:rPr>
              <a:t>First Last</a:t>
            </a:r>
            <a:br>
              <a:rPr lang="en-US" sz="1400">
                <a:solidFill>
                  <a:srgbClr val="1E0113"/>
                </a:solidFill>
                <a:latin typeface="Arial"/>
              </a:rPr>
            </a:br>
            <a:r>
              <a:rPr lang="en-US" sz="1200">
                <a:solidFill>
                  <a:srgbClr val="1E0113"/>
                </a:solidFill>
                <a:latin typeface="Arial"/>
              </a:rPr>
              <a:t>Title</a:t>
            </a:r>
            <a:endParaRPr lang="en-GB" sz="1200">
              <a:solidFill>
                <a:srgbClr val="1E0113"/>
              </a:solidFill>
              <a:latin typeface="Arial"/>
            </a:endParaRPr>
          </a:p>
        </p:txBody>
      </p:sp>
      <p:sp>
        <p:nvSpPr>
          <p:cNvPr id="57" name="Freeform: Shape 56">
            <a:extLst>
              <a:ext uri="{FF2B5EF4-FFF2-40B4-BE49-F238E27FC236}">
                <a16:creationId xmlns:a16="http://schemas.microsoft.com/office/drawing/2014/main" id="{5618C1B6-F9C7-4982-A888-0B0BB5F00D51}"/>
              </a:ext>
            </a:extLst>
          </p:cNvPr>
          <p:cNvSpPr/>
          <p:nvPr userDrawn="1"/>
        </p:nvSpPr>
        <p:spPr>
          <a:xfrm>
            <a:off x="2573405" y="3719622"/>
            <a:ext cx="1674508" cy="3600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lang="en-GB" sz="1400" b="1">
                <a:solidFill>
                  <a:srgbClr val="1E0113"/>
                </a:solidFill>
                <a:latin typeface="Arial"/>
              </a:rPr>
              <a:t>First Last</a:t>
            </a:r>
            <a:br>
              <a:rPr lang="en-US" sz="1400">
                <a:solidFill>
                  <a:srgbClr val="1E0113"/>
                </a:solidFill>
                <a:latin typeface="Arial"/>
              </a:rPr>
            </a:br>
            <a:r>
              <a:rPr lang="en-US" sz="1200">
                <a:solidFill>
                  <a:srgbClr val="1E0113"/>
                </a:solidFill>
                <a:latin typeface="Arial"/>
              </a:rPr>
              <a:t>Title</a:t>
            </a:r>
            <a:endParaRPr lang="en-GB" sz="1200">
              <a:solidFill>
                <a:srgbClr val="1E0113"/>
              </a:solidFill>
              <a:latin typeface="Arial"/>
            </a:endParaRPr>
          </a:p>
        </p:txBody>
      </p:sp>
      <p:sp>
        <p:nvSpPr>
          <p:cNvPr id="58" name="Freeform: Shape 57">
            <a:extLst>
              <a:ext uri="{FF2B5EF4-FFF2-40B4-BE49-F238E27FC236}">
                <a16:creationId xmlns:a16="http://schemas.microsoft.com/office/drawing/2014/main" id="{868CDBCA-61FA-4B54-A0E6-14E1BA521845}"/>
              </a:ext>
            </a:extLst>
          </p:cNvPr>
          <p:cNvSpPr/>
          <p:nvPr userDrawn="1"/>
        </p:nvSpPr>
        <p:spPr>
          <a:xfrm>
            <a:off x="4843425" y="3719622"/>
            <a:ext cx="1674508" cy="3600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lang="en-GB" sz="1400" b="1">
                <a:solidFill>
                  <a:srgbClr val="1E0113"/>
                </a:solidFill>
                <a:latin typeface="Arial"/>
              </a:rPr>
              <a:t>First Last</a:t>
            </a:r>
            <a:br>
              <a:rPr lang="en-US" sz="1400">
                <a:solidFill>
                  <a:srgbClr val="1E0113"/>
                </a:solidFill>
                <a:latin typeface="Arial"/>
              </a:rPr>
            </a:br>
            <a:r>
              <a:rPr lang="en-US" sz="1200">
                <a:solidFill>
                  <a:srgbClr val="1E0113"/>
                </a:solidFill>
                <a:latin typeface="Arial"/>
              </a:rPr>
              <a:t>Title</a:t>
            </a:r>
            <a:endParaRPr lang="en-GB" sz="1200">
              <a:solidFill>
                <a:srgbClr val="1E0113"/>
              </a:solidFill>
              <a:latin typeface="Arial"/>
            </a:endParaRPr>
          </a:p>
        </p:txBody>
      </p:sp>
      <p:sp>
        <p:nvSpPr>
          <p:cNvPr id="74" name="Freeform: Shape 73">
            <a:extLst>
              <a:ext uri="{FF2B5EF4-FFF2-40B4-BE49-F238E27FC236}">
                <a16:creationId xmlns:a16="http://schemas.microsoft.com/office/drawing/2014/main" id="{B29C83C2-A111-43E1-8F3B-989F7BF56538}"/>
              </a:ext>
            </a:extLst>
          </p:cNvPr>
          <p:cNvSpPr/>
          <p:nvPr userDrawn="1"/>
        </p:nvSpPr>
        <p:spPr>
          <a:xfrm>
            <a:off x="7092493" y="3719622"/>
            <a:ext cx="1674508" cy="3600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lang="en-GB" sz="1400" b="1">
                <a:solidFill>
                  <a:srgbClr val="1E0113"/>
                </a:solidFill>
                <a:latin typeface="Arial"/>
              </a:rPr>
              <a:t>First Last</a:t>
            </a:r>
            <a:br>
              <a:rPr lang="en-US" sz="1400">
                <a:solidFill>
                  <a:srgbClr val="1E0113"/>
                </a:solidFill>
                <a:latin typeface="Arial"/>
              </a:rPr>
            </a:br>
            <a:r>
              <a:rPr lang="en-US" sz="1200">
                <a:solidFill>
                  <a:srgbClr val="1E0113"/>
                </a:solidFill>
                <a:latin typeface="Arial"/>
              </a:rPr>
              <a:t>Title</a:t>
            </a:r>
            <a:endParaRPr lang="en-GB" sz="1200">
              <a:solidFill>
                <a:srgbClr val="1E0113"/>
              </a:solidFill>
              <a:latin typeface="Arial"/>
            </a:endParaRPr>
          </a:p>
        </p:txBody>
      </p:sp>
      <p:sp>
        <p:nvSpPr>
          <p:cNvPr id="75" name="Freeform: Shape 74">
            <a:extLst>
              <a:ext uri="{FF2B5EF4-FFF2-40B4-BE49-F238E27FC236}">
                <a16:creationId xmlns:a16="http://schemas.microsoft.com/office/drawing/2014/main" id="{932D43CA-F312-44A4-BF7E-B6F2CA37B861}"/>
              </a:ext>
            </a:extLst>
          </p:cNvPr>
          <p:cNvSpPr/>
          <p:nvPr userDrawn="1"/>
        </p:nvSpPr>
        <p:spPr>
          <a:xfrm>
            <a:off x="9341562" y="3719622"/>
            <a:ext cx="1674508" cy="3600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lang="en-GB" sz="1400" b="1">
                <a:solidFill>
                  <a:srgbClr val="1E0113"/>
                </a:solidFill>
                <a:latin typeface="Arial"/>
              </a:rPr>
              <a:t>First Last</a:t>
            </a:r>
            <a:br>
              <a:rPr lang="en-US" sz="1400">
                <a:solidFill>
                  <a:srgbClr val="1E0113"/>
                </a:solidFill>
                <a:latin typeface="Arial"/>
              </a:rPr>
            </a:br>
            <a:r>
              <a:rPr lang="en-US" sz="1200">
                <a:solidFill>
                  <a:srgbClr val="1E0113"/>
                </a:solidFill>
                <a:latin typeface="Arial"/>
              </a:rPr>
              <a:t>Title</a:t>
            </a:r>
            <a:endParaRPr lang="en-GB" sz="1200">
              <a:solidFill>
                <a:srgbClr val="1E0113"/>
              </a:solidFill>
              <a:latin typeface="Arial"/>
            </a:endParaRPr>
          </a:p>
        </p:txBody>
      </p:sp>
      <p:sp>
        <p:nvSpPr>
          <p:cNvPr id="76" name="Slide Number Placeholder 7">
            <a:extLst>
              <a:ext uri="{FF2B5EF4-FFF2-40B4-BE49-F238E27FC236}">
                <a16:creationId xmlns:a16="http://schemas.microsoft.com/office/drawing/2014/main" id="{F107877D-C19A-4401-ABC7-138FE32BF944}"/>
              </a:ext>
            </a:extLst>
          </p:cNvPr>
          <p:cNvSpPr>
            <a:spLocks noGrp="1"/>
          </p:cNvSpPr>
          <p:nvPr userDrawn="1">
            <p:ph type="sldNum" sz="quarter" idx="10"/>
          </p:nvPr>
        </p:nvSpPr>
        <p:spPr>
          <a:xfrm>
            <a:off x="11672569" y="6400800"/>
            <a:ext cx="439026" cy="155448"/>
          </a:xfrm>
          <a:prstGeom prst="rect">
            <a:avLst/>
          </a:prstGeom>
        </p:spPr>
        <p:txBody>
          <a:bodyPr/>
          <a:lstStyle/>
          <a:p>
            <a:pPr>
              <a:defRPr/>
            </a:pPr>
            <a:fld id="{6D22F896-40B5-4ADD-8801-0D06FADFA095}" type="slidenum">
              <a:rPr lang="en-US" smtClean="0">
                <a:solidFill>
                  <a:srgbClr val="000000"/>
                </a:solidFill>
              </a:rPr>
              <a:pPr>
                <a:defRPr/>
              </a:pPr>
              <a:t>‹#›</a:t>
            </a:fld>
            <a:endParaRPr lang="en-US">
              <a:solidFill>
                <a:srgbClr val="000000"/>
              </a:solidFill>
            </a:endParaRPr>
          </a:p>
        </p:txBody>
      </p:sp>
      <p:cxnSp>
        <p:nvCxnSpPr>
          <p:cNvPr id="103" name="Straight Connector 102">
            <a:extLst>
              <a:ext uri="{FF2B5EF4-FFF2-40B4-BE49-F238E27FC236}">
                <a16:creationId xmlns:a16="http://schemas.microsoft.com/office/drawing/2014/main" id="{C235E94D-CADF-4E5F-B8F0-84363353F63B}"/>
              </a:ext>
            </a:extLst>
          </p:cNvPr>
          <p:cNvCxnSpPr>
            <a:cxnSpLocks/>
          </p:cNvCxnSpPr>
          <p:nvPr userDrawn="1"/>
        </p:nvCxnSpPr>
        <p:spPr>
          <a:xfrm>
            <a:off x="7934988" y="4102323"/>
            <a:ext cx="0" cy="17433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4" name="Freeform: Shape 103">
            <a:extLst>
              <a:ext uri="{FF2B5EF4-FFF2-40B4-BE49-F238E27FC236}">
                <a16:creationId xmlns:a16="http://schemas.microsoft.com/office/drawing/2014/main" id="{4E54939A-84E9-4F35-9FF6-945AACB3302A}"/>
              </a:ext>
            </a:extLst>
          </p:cNvPr>
          <p:cNvSpPr/>
          <p:nvPr userDrawn="1"/>
        </p:nvSpPr>
        <p:spPr>
          <a:xfrm>
            <a:off x="8263394" y="4327113"/>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cxnSp>
        <p:nvCxnSpPr>
          <p:cNvPr id="105" name="Straight Connector 104">
            <a:extLst>
              <a:ext uri="{FF2B5EF4-FFF2-40B4-BE49-F238E27FC236}">
                <a16:creationId xmlns:a16="http://schemas.microsoft.com/office/drawing/2014/main" id="{7D7329E0-5381-4C80-AE9A-23F76C2D2451}"/>
              </a:ext>
            </a:extLst>
          </p:cNvPr>
          <p:cNvCxnSpPr>
            <a:cxnSpLocks/>
          </p:cNvCxnSpPr>
          <p:nvPr userDrawn="1"/>
        </p:nvCxnSpPr>
        <p:spPr>
          <a:xfrm>
            <a:off x="7934988" y="4398782"/>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E1EB878-546E-4D96-B99A-6B1BD9CF7961}"/>
              </a:ext>
            </a:extLst>
          </p:cNvPr>
          <p:cNvCxnSpPr>
            <a:cxnSpLocks/>
          </p:cNvCxnSpPr>
          <p:nvPr userDrawn="1"/>
        </p:nvCxnSpPr>
        <p:spPr>
          <a:xfrm>
            <a:off x="7934988" y="4896330"/>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379056A-852E-461F-A9C2-F37AE0D8CEB5}"/>
              </a:ext>
            </a:extLst>
          </p:cNvPr>
          <p:cNvCxnSpPr>
            <a:cxnSpLocks/>
          </p:cNvCxnSpPr>
          <p:nvPr userDrawn="1"/>
        </p:nvCxnSpPr>
        <p:spPr>
          <a:xfrm>
            <a:off x="7934988" y="5393878"/>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09D283C-6BDB-4C50-810F-D38B1FF3EB87}"/>
              </a:ext>
            </a:extLst>
          </p:cNvPr>
          <p:cNvCxnSpPr>
            <a:cxnSpLocks/>
          </p:cNvCxnSpPr>
          <p:nvPr userDrawn="1"/>
        </p:nvCxnSpPr>
        <p:spPr>
          <a:xfrm>
            <a:off x="7934988" y="5837085"/>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CA3AF6A-064E-4CF7-8800-782A153C4091}"/>
              </a:ext>
            </a:extLst>
          </p:cNvPr>
          <p:cNvCxnSpPr>
            <a:cxnSpLocks/>
          </p:cNvCxnSpPr>
          <p:nvPr userDrawn="1"/>
        </p:nvCxnSpPr>
        <p:spPr>
          <a:xfrm>
            <a:off x="10172533" y="4102323"/>
            <a:ext cx="0" cy="17433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171AD49-684D-4404-A099-CE9057C88BDA}"/>
              </a:ext>
            </a:extLst>
          </p:cNvPr>
          <p:cNvCxnSpPr>
            <a:cxnSpLocks/>
          </p:cNvCxnSpPr>
          <p:nvPr userDrawn="1"/>
        </p:nvCxnSpPr>
        <p:spPr>
          <a:xfrm>
            <a:off x="10172533" y="4398782"/>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77B6B83-CEBC-446E-8E83-75F5C9E54A66}"/>
              </a:ext>
            </a:extLst>
          </p:cNvPr>
          <p:cNvCxnSpPr>
            <a:cxnSpLocks/>
          </p:cNvCxnSpPr>
          <p:nvPr userDrawn="1"/>
        </p:nvCxnSpPr>
        <p:spPr>
          <a:xfrm>
            <a:off x="10172533" y="4896330"/>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82D054B-E82B-4044-8240-C7D57E9344E3}"/>
              </a:ext>
            </a:extLst>
          </p:cNvPr>
          <p:cNvCxnSpPr>
            <a:cxnSpLocks/>
          </p:cNvCxnSpPr>
          <p:nvPr userDrawn="1"/>
        </p:nvCxnSpPr>
        <p:spPr>
          <a:xfrm>
            <a:off x="10172533" y="5393878"/>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659EEAF-FE97-4EDC-AFD1-7D7918C1EB14}"/>
              </a:ext>
            </a:extLst>
          </p:cNvPr>
          <p:cNvCxnSpPr>
            <a:cxnSpLocks/>
          </p:cNvCxnSpPr>
          <p:nvPr userDrawn="1"/>
        </p:nvCxnSpPr>
        <p:spPr>
          <a:xfrm>
            <a:off x="10172533" y="5837085"/>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4" name="Freeform: Shape 113">
            <a:extLst>
              <a:ext uri="{FF2B5EF4-FFF2-40B4-BE49-F238E27FC236}">
                <a16:creationId xmlns:a16="http://schemas.microsoft.com/office/drawing/2014/main" id="{3D2C173A-8552-4DAA-A229-AE750AB4A8C7}"/>
              </a:ext>
            </a:extLst>
          </p:cNvPr>
          <p:cNvSpPr/>
          <p:nvPr userDrawn="1"/>
        </p:nvSpPr>
        <p:spPr>
          <a:xfrm>
            <a:off x="8263394" y="4824661"/>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15" name="Freeform: Shape 114">
            <a:extLst>
              <a:ext uri="{FF2B5EF4-FFF2-40B4-BE49-F238E27FC236}">
                <a16:creationId xmlns:a16="http://schemas.microsoft.com/office/drawing/2014/main" id="{8FF8F61F-5A07-46CE-A2CD-1CA373021F6B}"/>
              </a:ext>
            </a:extLst>
          </p:cNvPr>
          <p:cNvSpPr/>
          <p:nvPr userDrawn="1"/>
        </p:nvSpPr>
        <p:spPr>
          <a:xfrm>
            <a:off x="8263394" y="5322209"/>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16" name="Freeform: Shape 115">
            <a:extLst>
              <a:ext uri="{FF2B5EF4-FFF2-40B4-BE49-F238E27FC236}">
                <a16:creationId xmlns:a16="http://schemas.microsoft.com/office/drawing/2014/main" id="{EDF20F4C-C6C0-4C6C-B41B-1C4A23D39EEC}"/>
              </a:ext>
            </a:extLst>
          </p:cNvPr>
          <p:cNvSpPr/>
          <p:nvPr userDrawn="1"/>
        </p:nvSpPr>
        <p:spPr>
          <a:xfrm>
            <a:off x="8263394" y="5757434"/>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17" name="Freeform: Shape 116">
            <a:extLst>
              <a:ext uri="{FF2B5EF4-FFF2-40B4-BE49-F238E27FC236}">
                <a16:creationId xmlns:a16="http://schemas.microsoft.com/office/drawing/2014/main" id="{D8FF5578-D6DA-416C-B327-EE7602BDA77A}"/>
              </a:ext>
            </a:extLst>
          </p:cNvPr>
          <p:cNvSpPr/>
          <p:nvPr userDrawn="1"/>
        </p:nvSpPr>
        <p:spPr>
          <a:xfrm>
            <a:off x="10500937" y="4327113"/>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18" name="Freeform: Shape 117">
            <a:extLst>
              <a:ext uri="{FF2B5EF4-FFF2-40B4-BE49-F238E27FC236}">
                <a16:creationId xmlns:a16="http://schemas.microsoft.com/office/drawing/2014/main" id="{3439945D-FF95-43C7-8BA3-BC3D4BC84D1B}"/>
              </a:ext>
            </a:extLst>
          </p:cNvPr>
          <p:cNvSpPr/>
          <p:nvPr userDrawn="1"/>
        </p:nvSpPr>
        <p:spPr>
          <a:xfrm>
            <a:off x="10500937" y="4824661"/>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19" name="Freeform: Shape 118">
            <a:extLst>
              <a:ext uri="{FF2B5EF4-FFF2-40B4-BE49-F238E27FC236}">
                <a16:creationId xmlns:a16="http://schemas.microsoft.com/office/drawing/2014/main" id="{21B8EF45-066D-4642-86E2-B7A9D45254C6}"/>
              </a:ext>
            </a:extLst>
          </p:cNvPr>
          <p:cNvSpPr/>
          <p:nvPr userDrawn="1"/>
        </p:nvSpPr>
        <p:spPr>
          <a:xfrm>
            <a:off x="10500937" y="5322209"/>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20" name="Freeform: Shape 119">
            <a:extLst>
              <a:ext uri="{FF2B5EF4-FFF2-40B4-BE49-F238E27FC236}">
                <a16:creationId xmlns:a16="http://schemas.microsoft.com/office/drawing/2014/main" id="{C9943FDD-4199-42F0-B408-8B80A0E3EF00}"/>
              </a:ext>
            </a:extLst>
          </p:cNvPr>
          <p:cNvSpPr/>
          <p:nvPr userDrawn="1"/>
        </p:nvSpPr>
        <p:spPr>
          <a:xfrm>
            <a:off x="10500937" y="5757434"/>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cxnSp>
        <p:nvCxnSpPr>
          <p:cNvPr id="121" name="Straight Connector 120">
            <a:extLst>
              <a:ext uri="{FF2B5EF4-FFF2-40B4-BE49-F238E27FC236}">
                <a16:creationId xmlns:a16="http://schemas.microsoft.com/office/drawing/2014/main" id="{69DB669D-48B5-4377-8380-97FC300434B8}"/>
              </a:ext>
            </a:extLst>
          </p:cNvPr>
          <p:cNvCxnSpPr>
            <a:cxnSpLocks/>
          </p:cNvCxnSpPr>
          <p:nvPr userDrawn="1"/>
        </p:nvCxnSpPr>
        <p:spPr>
          <a:xfrm>
            <a:off x="5675434" y="4102323"/>
            <a:ext cx="0" cy="17433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2" name="Freeform: Shape 121">
            <a:extLst>
              <a:ext uri="{FF2B5EF4-FFF2-40B4-BE49-F238E27FC236}">
                <a16:creationId xmlns:a16="http://schemas.microsoft.com/office/drawing/2014/main" id="{271E7A89-C33E-4C14-B9CA-5E8D883DCB02}"/>
              </a:ext>
            </a:extLst>
          </p:cNvPr>
          <p:cNvSpPr/>
          <p:nvPr userDrawn="1"/>
        </p:nvSpPr>
        <p:spPr>
          <a:xfrm>
            <a:off x="6003839" y="4327113"/>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cxnSp>
        <p:nvCxnSpPr>
          <p:cNvPr id="123" name="Straight Connector 122">
            <a:extLst>
              <a:ext uri="{FF2B5EF4-FFF2-40B4-BE49-F238E27FC236}">
                <a16:creationId xmlns:a16="http://schemas.microsoft.com/office/drawing/2014/main" id="{F2E0D984-07AE-448D-9C7E-50B02F8E444D}"/>
              </a:ext>
            </a:extLst>
          </p:cNvPr>
          <p:cNvCxnSpPr>
            <a:cxnSpLocks/>
          </p:cNvCxnSpPr>
          <p:nvPr userDrawn="1"/>
        </p:nvCxnSpPr>
        <p:spPr>
          <a:xfrm>
            <a:off x="5675434" y="4398782"/>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606C868-A2D2-47ED-B76C-FE2B86DEE401}"/>
              </a:ext>
            </a:extLst>
          </p:cNvPr>
          <p:cNvCxnSpPr>
            <a:cxnSpLocks/>
          </p:cNvCxnSpPr>
          <p:nvPr userDrawn="1"/>
        </p:nvCxnSpPr>
        <p:spPr>
          <a:xfrm>
            <a:off x="5675434" y="4896330"/>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B1CFCD3-6AA4-4835-8E33-10369F558C39}"/>
              </a:ext>
            </a:extLst>
          </p:cNvPr>
          <p:cNvCxnSpPr>
            <a:cxnSpLocks/>
          </p:cNvCxnSpPr>
          <p:nvPr userDrawn="1"/>
        </p:nvCxnSpPr>
        <p:spPr>
          <a:xfrm>
            <a:off x="5675434" y="5393878"/>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AB99BA7C-7499-4F69-8217-0E2BF8AC24B9}"/>
              </a:ext>
            </a:extLst>
          </p:cNvPr>
          <p:cNvCxnSpPr>
            <a:cxnSpLocks/>
          </p:cNvCxnSpPr>
          <p:nvPr userDrawn="1"/>
        </p:nvCxnSpPr>
        <p:spPr>
          <a:xfrm>
            <a:off x="5675434" y="5837085"/>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7" name="Freeform: Shape 126">
            <a:extLst>
              <a:ext uri="{FF2B5EF4-FFF2-40B4-BE49-F238E27FC236}">
                <a16:creationId xmlns:a16="http://schemas.microsoft.com/office/drawing/2014/main" id="{375A1060-ACC9-4B1B-8683-8E04F12B2625}"/>
              </a:ext>
            </a:extLst>
          </p:cNvPr>
          <p:cNvSpPr/>
          <p:nvPr userDrawn="1"/>
        </p:nvSpPr>
        <p:spPr>
          <a:xfrm>
            <a:off x="6003839" y="4824661"/>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28" name="Freeform: Shape 127">
            <a:extLst>
              <a:ext uri="{FF2B5EF4-FFF2-40B4-BE49-F238E27FC236}">
                <a16:creationId xmlns:a16="http://schemas.microsoft.com/office/drawing/2014/main" id="{60DF18DC-F5B6-454F-A388-1611F2BC55CD}"/>
              </a:ext>
            </a:extLst>
          </p:cNvPr>
          <p:cNvSpPr/>
          <p:nvPr userDrawn="1"/>
        </p:nvSpPr>
        <p:spPr>
          <a:xfrm>
            <a:off x="6003839" y="5322209"/>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29" name="Freeform: Shape 128">
            <a:extLst>
              <a:ext uri="{FF2B5EF4-FFF2-40B4-BE49-F238E27FC236}">
                <a16:creationId xmlns:a16="http://schemas.microsoft.com/office/drawing/2014/main" id="{3860DDE8-748E-4E50-83C8-2C503A20F0A3}"/>
              </a:ext>
            </a:extLst>
          </p:cNvPr>
          <p:cNvSpPr/>
          <p:nvPr userDrawn="1"/>
        </p:nvSpPr>
        <p:spPr>
          <a:xfrm>
            <a:off x="6003839" y="5757434"/>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cxnSp>
        <p:nvCxnSpPr>
          <p:cNvPr id="130" name="Straight Connector 129">
            <a:extLst>
              <a:ext uri="{FF2B5EF4-FFF2-40B4-BE49-F238E27FC236}">
                <a16:creationId xmlns:a16="http://schemas.microsoft.com/office/drawing/2014/main" id="{AD3C215E-595B-4A6C-8498-393A7D361A98}"/>
              </a:ext>
            </a:extLst>
          </p:cNvPr>
          <p:cNvCxnSpPr>
            <a:cxnSpLocks/>
          </p:cNvCxnSpPr>
          <p:nvPr userDrawn="1"/>
        </p:nvCxnSpPr>
        <p:spPr>
          <a:xfrm>
            <a:off x="3412464" y="4102323"/>
            <a:ext cx="0" cy="17433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1" name="Freeform: Shape 130">
            <a:extLst>
              <a:ext uri="{FF2B5EF4-FFF2-40B4-BE49-F238E27FC236}">
                <a16:creationId xmlns:a16="http://schemas.microsoft.com/office/drawing/2014/main" id="{F4E58212-6224-478E-97B7-818E7C23EBF9}"/>
              </a:ext>
            </a:extLst>
          </p:cNvPr>
          <p:cNvSpPr/>
          <p:nvPr userDrawn="1"/>
        </p:nvSpPr>
        <p:spPr>
          <a:xfrm>
            <a:off x="3740869" y="4327113"/>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cxnSp>
        <p:nvCxnSpPr>
          <p:cNvPr id="132" name="Straight Connector 131">
            <a:extLst>
              <a:ext uri="{FF2B5EF4-FFF2-40B4-BE49-F238E27FC236}">
                <a16:creationId xmlns:a16="http://schemas.microsoft.com/office/drawing/2014/main" id="{8BD77DC3-4CA6-49B9-B9B3-B5732A273B3D}"/>
              </a:ext>
            </a:extLst>
          </p:cNvPr>
          <p:cNvCxnSpPr>
            <a:cxnSpLocks/>
          </p:cNvCxnSpPr>
          <p:nvPr userDrawn="1"/>
        </p:nvCxnSpPr>
        <p:spPr>
          <a:xfrm>
            <a:off x="3412464" y="4398782"/>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FEE2FD7-2D0B-40A3-B9DD-1C5D61F30E00}"/>
              </a:ext>
            </a:extLst>
          </p:cNvPr>
          <p:cNvCxnSpPr>
            <a:cxnSpLocks/>
          </p:cNvCxnSpPr>
          <p:nvPr userDrawn="1"/>
        </p:nvCxnSpPr>
        <p:spPr>
          <a:xfrm>
            <a:off x="3412464" y="4896330"/>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9D256505-D8BB-4851-8136-344B9E4AF664}"/>
              </a:ext>
            </a:extLst>
          </p:cNvPr>
          <p:cNvCxnSpPr>
            <a:cxnSpLocks/>
          </p:cNvCxnSpPr>
          <p:nvPr userDrawn="1"/>
        </p:nvCxnSpPr>
        <p:spPr>
          <a:xfrm>
            <a:off x="3412464" y="5393878"/>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1D9595AA-BF17-4EA3-BD5B-E20BF54BC048}"/>
              </a:ext>
            </a:extLst>
          </p:cNvPr>
          <p:cNvCxnSpPr>
            <a:cxnSpLocks/>
          </p:cNvCxnSpPr>
          <p:nvPr userDrawn="1"/>
        </p:nvCxnSpPr>
        <p:spPr>
          <a:xfrm>
            <a:off x="3412464" y="5837085"/>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36" name="Freeform: Shape 135">
            <a:extLst>
              <a:ext uri="{FF2B5EF4-FFF2-40B4-BE49-F238E27FC236}">
                <a16:creationId xmlns:a16="http://schemas.microsoft.com/office/drawing/2014/main" id="{E894039B-213C-495E-AD99-46FE6BD73D28}"/>
              </a:ext>
            </a:extLst>
          </p:cNvPr>
          <p:cNvSpPr/>
          <p:nvPr userDrawn="1"/>
        </p:nvSpPr>
        <p:spPr>
          <a:xfrm>
            <a:off x="3740869" y="4824661"/>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37" name="Freeform: Shape 136">
            <a:extLst>
              <a:ext uri="{FF2B5EF4-FFF2-40B4-BE49-F238E27FC236}">
                <a16:creationId xmlns:a16="http://schemas.microsoft.com/office/drawing/2014/main" id="{DCC0C65F-2351-4EFA-93E0-64F18648548D}"/>
              </a:ext>
            </a:extLst>
          </p:cNvPr>
          <p:cNvSpPr/>
          <p:nvPr userDrawn="1"/>
        </p:nvSpPr>
        <p:spPr>
          <a:xfrm>
            <a:off x="3740869" y="5322209"/>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38" name="Freeform: Shape 137">
            <a:extLst>
              <a:ext uri="{FF2B5EF4-FFF2-40B4-BE49-F238E27FC236}">
                <a16:creationId xmlns:a16="http://schemas.microsoft.com/office/drawing/2014/main" id="{0F96021F-C2DF-4E6B-8BAC-0C3FE4F86BA6}"/>
              </a:ext>
            </a:extLst>
          </p:cNvPr>
          <p:cNvSpPr/>
          <p:nvPr userDrawn="1"/>
        </p:nvSpPr>
        <p:spPr>
          <a:xfrm>
            <a:off x="3740869" y="5757434"/>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cxnSp>
        <p:nvCxnSpPr>
          <p:cNvPr id="139" name="Straight Connector 138">
            <a:extLst>
              <a:ext uri="{FF2B5EF4-FFF2-40B4-BE49-F238E27FC236}">
                <a16:creationId xmlns:a16="http://schemas.microsoft.com/office/drawing/2014/main" id="{798B1C53-B143-442C-BAE6-824E98727672}"/>
              </a:ext>
            </a:extLst>
          </p:cNvPr>
          <p:cNvCxnSpPr>
            <a:cxnSpLocks/>
          </p:cNvCxnSpPr>
          <p:nvPr userDrawn="1"/>
        </p:nvCxnSpPr>
        <p:spPr>
          <a:xfrm>
            <a:off x="1149494" y="4102323"/>
            <a:ext cx="0" cy="17433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0" name="Freeform: Shape 139">
            <a:extLst>
              <a:ext uri="{FF2B5EF4-FFF2-40B4-BE49-F238E27FC236}">
                <a16:creationId xmlns:a16="http://schemas.microsoft.com/office/drawing/2014/main" id="{DB06DB5F-E021-4586-A963-5DBAD49BE888}"/>
              </a:ext>
            </a:extLst>
          </p:cNvPr>
          <p:cNvSpPr/>
          <p:nvPr userDrawn="1"/>
        </p:nvSpPr>
        <p:spPr>
          <a:xfrm>
            <a:off x="1477900" y="4327113"/>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cxnSp>
        <p:nvCxnSpPr>
          <p:cNvPr id="141" name="Straight Connector 140">
            <a:extLst>
              <a:ext uri="{FF2B5EF4-FFF2-40B4-BE49-F238E27FC236}">
                <a16:creationId xmlns:a16="http://schemas.microsoft.com/office/drawing/2014/main" id="{A1A5AC41-26B6-45AC-B5F9-1B13B4A30815}"/>
              </a:ext>
            </a:extLst>
          </p:cNvPr>
          <p:cNvCxnSpPr>
            <a:cxnSpLocks/>
          </p:cNvCxnSpPr>
          <p:nvPr userDrawn="1"/>
        </p:nvCxnSpPr>
        <p:spPr>
          <a:xfrm>
            <a:off x="1149494" y="4398782"/>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509DA5A4-8AD5-4CEF-8C41-3BF7F07426E9}"/>
              </a:ext>
            </a:extLst>
          </p:cNvPr>
          <p:cNvCxnSpPr>
            <a:cxnSpLocks/>
          </p:cNvCxnSpPr>
          <p:nvPr userDrawn="1"/>
        </p:nvCxnSpPr>
        <p:spPr>
          <a:xfrm>
            <a:off x="1149494" y="4896330"/>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593E56D6-2D45-4211-B3FA-A5DE2909AE51}"/>
              </a:ext>
            </a:extLst>
          </p:cNvPr>
          <p:cNvCxnSpPr>
            <a:cxnSpLocks/>
          </p:cNvCxnSpPr>
          <p:nvPr userDrawn="1"/>
        </p:nvCxnSpPr>
        <p:spPr>
          <a:xfrm>
            <a:off x="1149494" y="5393878"/>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B48DE18-4799-48C3-96EA-3329CB328ACA}"/>
              </a:ext>
            </a:extLst>
          </p:cNvPr>
          <p:cNvCxnSpPr>
            <a:cxnSpLocks/>
          </p:cNvCxnSpPr>
          <p:nvPr userDrawn="1"/>
        </p:nvCxnSpPr>
        <p:spPr>
          <a:xfrm>
            <a:off x="1149494" y="5837085"/>
            <a:ext cx="253114"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45" name="Freeform: Shape 144">
            <a:extLst>
              <a:ext uri="{FF2B5EF4-FFF2-40B4-BE49-F238E27FC236}">
                <a16:creationId xmlns:a16="http://schemas.microsoft.com/office/drawing/2014/main" id="{384DBA32-DCEF-4DDD-A1A2-038A8963C847}"/>
              </a:ext>
            </a:extLst>
          </p:cNvPr>
          <p:cNvSpPr/>
          <p:nvPr userDrawn="1"/>
        </p:nvSpPr>
        <p:spPr>
          <a:xfrm>
            <a:off x="1477900" y="4824661"/>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46" name="Freeform: Shape 145">
            <a:extLst>
              <a:ext uri="{FF2B5EF4-FFF2-40B4-BE49-F238E27FC236}">
                <a16:creationId xmlns:a16="http://schemas.microsoft.com/office/drawing/2014/main" id="{BECD8A20-D75E-47E1-B5EC-D30A397F10A6}"/>
              </a:ext>
            </a:extLst>
          </p:cNvPr>
          <p:cNvSpPr/>
          <p:nvPr userDrawn="1"/>
        </p:nvSpPr>
        <p:spPr>
          <a:xfrm>
            <a:off x="1477900" y="5322209"/>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47" name="Freeform: Shape 146">
            <a:extLst>
              <a:ext uri="{FF2B5EF4-FFF2-40B4-BE49-F238E27FC236}">
                <a16:creationId xmlns:a16="http://schemas.microsoft.com/office/drawing/2014/main" id="{CAB5F801-25FB-490D-8F63-44C3C3A92809}"/>
              </a:ext>
            </a:extLst>
          </p:cNvPr>
          <p:cNvSpPr/>
          <p:nvPr userDrawn="1"/>
        </p:nvSpPr>
        <p:spPr>
          <a:xfrm>
            <a:off x="1477900" y="5757434"/>
            <a:ext cx="795964" cy="304699"/>
          </a:xfrm>
          <a:custGeom>
            <a:avLst/>
            <a:gdLst>
              <a:gd name="connsiteX0" fmla="*/ 0 w 1510574"/>
              <a:gd name="connsiteY0" fmla="*/ 0 h 755287"/>
              <a:gd name="connsiteX1" fmla="*/ 1510574 w 1510574"/>
              <a:gd name="connsiteY1" fmla="*/ 0 h 755287"/>
              <a:gd name="connsiteX2" fmla="*/ 1510574 w 1510574"/>
              <a:gd name="connsiteY2" fmla="*/ 755287 h 755287"/>
              <a:gd name="connsiteX3" fmla="*/ 0 w 1510574"/>
              <a:gd name="connsiteY3" fmla="*/ 755287 h 755287"/>
              <a:gd name="connsiteX4" fmla="*/ 0 w 1510574"/>
              <a:gd name="connsiteY4" fmla="*/ 0 h 75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0574" h="755287">
                <a:moveTo>
                  <a:pt x="0" y="0"/>
                </a:moveTo>
                <a:lnTo>
                  <a:pt x="1510574" y="0"/>
                </a:lnTo>
                <a:lnTo>
                  <a:pt x="1510574" y="755287"/>
                </a:lnTo>
                <a:lnTo>
                  <a:pt x="0" y="755287"/>
                </a:lnTo>
                <a:lnTo>
                  <a:pt x="0" y="0"/>
                </a:lnTo>
                <a:close/>
              </a:path>
            </a:pathLst>
          </a:custGeom>
          <a:noFill/>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lang="en-GB" sz="1200" b="1">
                <a:solidFill>
                  <a:srgbClr val="1E0113"/>
                </a:solidFill>
                <a:latin typeface="Arial"/>
              </a:rPr>
              <a:t>First Last</a:t>
            </a:r>
            <a:br>
              <a:rPr lang="en-US" sz="1200">
                <a:solidFill>
                  <a:srgbClr val="1E0113"/>
                </a:solidFill>
                <a:latin typeface="Arial"/>
              </a:rPr>
            </a:br>
            <a:r>
              <a:rPr lang="en-US" sz="1000">
                <a:solidFill>
                  <a:srgbClr val="1E0113"/>
                </a:solidFill>
                <a:latin typeface="Arial"/>
              </a:rPr>
              <a:t>Title</a:t>
            </a:r>
            <a:endParaRPr lang="en-GB" sz="1000">
              <a:solidFill>
                <a:srgbClr val="1E0113"/>
              </a:solidFill>
              <a:latin typeface="Arial"/>
            </a:endParaRPr>
          </a:p>
        </p:txBody>
      </p:sp>
      <p:sp>
        <p:nvSpPr>
          <p:cNvPr id="148" name="Title 28">
            <a:extLst>
              <a:ext uri="{FF2B5EF4-FFF2-40B4-BE49-F238E27FC236}">
                <a16:creationId xmlns:a16="http://schemas.microsoft.com/office/drawing/2014/main" id="{EBFEB7CB-FE77-4157-860F-CF3CE457116A}"/>
              </a:ext>
            </a:extLst>
          </p:cNvPr>
          <p:cNvSpPr>
            <a:spLocks noGrp="1"/>
          </p:cNvSpPr>
          <p:nvPr userDrawn="1">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3" name="Picture Placeholder 2">
            <a:extLst>
              <a:ext uri="{FF2B5EF4-FFF2-40B4-BE49-F238E27FC236}">
                <a16:creationId xmlns:a16="http://schemas.microsoft.com/office/drawing/2014/main" id="{6BA6E515-B04B-4EF7-B957-CEB747F091D4}"/>
              </a:ext>
            </a:extLst>
          </p:cNvPr>
          <p:cNvSpPr>
            <a:spLocks noGrp="1"/>
          </p:cNvSpPr>
          <p:nvPr>
            <p:ph type="pic" sz="quarter" idx="11"/>
          </p:nvPr>
        </p:nvSpPr>
        <p:spPr>
          <a:xfrm>
            <a:off x="5298868" y="1179514"/>
            <a:ext cx="763786" cy="763587"/>
          </a:xfrm>
          <a:prstGeom prst="ellipse">
            <a:avLst/>
          </a:prstGeom>
          <a:solidFill>
            <a:schemeClr val="tx2">
              <a:lumMod val="20000"/>
              <a:lumOff val="80000"/>
            </a:schemeClr>
          </a:solidFill>
          <a:ln w="19050">
            <a:solidFill>
              <a:schemeClr val="tx2"/>
            </a:solidFill>
          </a:ln>
        </p:spPr>
        <p:txBody>
          <a:bodyPr lIns="0" rIns="0" anchor="ctr" anchorCtr="0"/>
          <a:lstStyle>
            <a:lvl1pPr marL="0" indent="0" algn="ctr">
              <a:buNone/>
              <a:defRPr sz="1200"/>
            </a:lvl1pPr>
          </a:lstStyle>
          <a:p>
            <a:r>
              <a:rPr lang="en-US"/>
              <a:t>Click icon to add picture</a:t>
            </a:r>
          </a:p>
        </p:txBody>
      </p:sp>
      <p:sp>
        <p:nvSpPr>
          <p:cNvPr id="152" name="Picture Placeholder 2">
            <a:extLst>
              <a:ext uri="{FF2B5EF4-FFF2-40B4-BE49-F238E27FC236}">
                <a16:creationId xmlns:a16="http://schemas.microsoft.com/office/drawing/2014/main" id="{5CFAA97B-C003-4537-AA54-9DA07FB667A1}"/>
              </a:ext>
            </a:extLst>
          </p:cNvPr>
          <p:cNvSpPr>
            <a:spLocks noGrp="1"/>
          </p:cNvSpPr>
          <p:nvPr>
            <p:ph type="pic" sz="quarter" idx="14"/>
          </p:nvPr>
        </p:nvSpPr>
        <p:spPr>
          <a:xfrm>
            <a:off x="767601" y="2934769"/>
            <a:ext cx="763786" cy="763587"/>
          </a:xfrm>
          <a:prstGeom prst="ellipse">
            <a:avLst/>
          </a:prstGeom>
          <a:solidFill>
            <a:schemeClr val="accent3"/>
          </a:solidFill>
          <a:ln w="19050">
            <a:solidFill>
              <a:srgbClr val="7A126B"/>
            </a:solidFill>
          </a:ln>
        </p:spPr>
        <p:txBody>
          <a:bodyPr lIns="0" rIns="0" anchor="ctr" anchorCtr="0"/>
          <a:lstStyle>
            <a:lvl1pPr marL="0" indent="0" algn="ctr">
              <a:buNone/>
              <a:defRPr sz="1200"/>
            </a:lvl1pPr>
          </a:lstStyle>
          <a:p>
            <a:r>
              <a:rPr lang="en-US"/>
              <a:t>Click icon to add picture</a:t>
            </a:r>
          </a:p>
        </p:txBody>
      </p:sp>
      <p:sp>
        <p:nvSpPr>
          <p:cNvPr id="153" name="Picture Placeholder 2">
            <a:extLst>
              <a:ext uri="{FF2B5EF4-FFF2-40B4-BE49-F238E27FC236}">
                <a16:creationId xmlns:a16="http://schemas.microsoft.com/office/drawing/2014/main" id="{208C4BD3-34B3-4995-AD61-5759A728B6A7}"/>
              </a:ext>
            </a:extLst>
          </p:cNvPr>
          <p:cNvSpPr>
            <a:spLocks noGrp="1"/>
          </p:cNvSpPr>
          <p:nvPr>
            <p:ph type="pic" sz="quarter" idx="15"/>
          </p:nvPr>
        </p:nvSpPr>
        <p:spPr>
          <a:xfrm>
            <a:off x="7547769" y="2934769"/>
            <a:ext cx="763786" cy="763587"/>
          </a:xfrm>
          <a:prstGeom prst="ellipse">
            <a:avLst/>
          </a:prstGeom>
          <a:solidFill>
            <a:schemeClr val="accent5"/>
          </a:solidFill>
          <a:ln w="19050">
            <a:solidFill>
              <a:srgbClr val="294E95"/>
            </a:solidFill>
          </a:ln>
        </p:spPr>
        <p:txBody>
          <a:bodyPr lIns="0" rIns="0" anchor="ctr" anchorCtr="0"/>
          <a:lstStyle>
            <a:lvl1pPr marL="0" indent="0" algn="ctr">
              <a:buNone/>
              <a:defRPr sz="1200"/>
            </a:lvl1pPr>
          </a:lstStyle>
          <a:p>
            <a:r>
              <a:rPr lang="en-US"/>
              <a:t>Click icon to add picture</a:t>
            </a:r>
          </a:p>
        </p:txBody>
      </p:sp>
      <p:sp>
        <p:nvSpPr>
          <p:cNvPr id="170" name="Picture Placeholder 2">
            <a:extLst>
              <a:ext uri="{FF2B5EF4-FFF2-40B4-BE49-F238E27FC236}">
                <a16:creationId xmlns:a16="http://schemas.microsoft.com/office/drawing/2014/main" id="{48A41CF6-6D0E-47F5-8C99-3D04407CE681}"/>
              </a:ext>
            </a:extLst>
          </p:cNvPr>
          <p:cNvSpPr>
            <a:spLocks noGrp="1"/>
          </p:cNvSpPr>
          <p:nvPr>
            <p:ph type="pic" sz="quarter" idx="17"/>
          </p:nvPr>
        </p:nvSpPr>
        <p:spPr>
          <a:xfrm>
            <a:off x="3033234" y="2934769"/>
            <a:ext cx="763786" cy="763587"/>
          </a:xfrm>
          <a:prstGeom prst="ellipse">
            <a:avLst/>
          </a:prstGeom>
          <a:solidFill>
            <a:schemeClr val="accent3"/>
          </a:solidFill>
          <a:ln w="19050">
            <a:solidFill>
              <a:srgbClr val="7A126B"/>
            </a:solidFill>
          </a:ln>
        </p:spPr>
        <p:txBody>
          <a:bodyPr lIns="0" rIns="0" anchor="ctr" anchorCtr="0"/>
          <a:lstStyle>
            <a:lvl1pPr marL="0" indent="0" algn="ctr">
              <a:buNone/>
              <a:defRPr sz="1200"/>
            </a:lvl1pPr>
          </a:lstStyle>
          <a:p>
            <a:r>
              <a:rPr lang="en-US"/>
              <a:t>Click icon to add picture</a:t>
            </a:r>
          </a:p>
        </p:txBody>
      </p:sp>
      <p:sp>
        <p:nvSpPr>
          <p:cNvPr id="171" name="Picture Placeholder 2">
            <a:extLst>
              <a:ext uri="{FF2B5EF4-FFF2-40B4-BE49-F238E27FC236}">
                <a16:creationId xmlns:a16="http://schemas.microsoft.com/office/drawing/2014/main" id="{FC259C05-A190-4462-AB1E-30AB08CBF294}"/>
              </a:ext>
            </a:extLst>
          </p:cNvPr>
          <p:cNvSpPr>
            <a:spLocks noGrp="1"/>
          </p:cNvSpPr>
          <p:nvPr>
            <p:ph type="pic" sz="quarter" idx="18"/>
          </p:nvPr>
        </p:nvSpPr>
        <p:spPr>
          <a:xfrm>
            <a:off x="9796924" y="2934769"/>
            <a:ext cx="763786" cy="763587"/>
          </a:xfrm>
          <a:prstGeom prst="ellipse">
            <a:avLst/>
          </a:prstGeom>
          <a:solidFill>
            <a:schemeClr val="accent5"/>
          </a:solidFill>
          <a:ln w="19050">
            <a:solidFill>
              <a:srgbClr val="294E95"/>
            </a:solidFill>
          </a:ln>
        </p:spPr>
        <p:txBody>
          <a:bodyPr lIns="0" rIns="0" anchor="ctr" anchorCtr="0"/>
          <a:lstStyle>
            <a:lvl1pPr marL="0" indent="0" algn="ctr">
              <a:buNone/>
              <a:defRPr sz="1200"/>
            </a:lvl1pPr>
          </a:lstStyle>
          <a:p>
            <a:r>
              <a:rPr lang="en-US"/>
              <a:t>Click icon to add picture</a:t>
            </a:r>
          </a:p>
        </p:txBody>
      </p:sp>
      <p:sp>
        <p:nvSpPr>
          <p:cNvPr id="172" name="Picture Placeholder 2">
            <a:extLst>
              <a:ext uri="{FF2B5EF4-FFF2-40B4-BE49-F238E27FC236}">
                <a16:creationId xmlns:a16="http://schemas.microsoft.com/office/drawing/2014/main" id="{289D417C-AB60-4049-9091-4586A4907C6A}"/>
              </a:ext>
            </a:extLst>
          </p:cNvPr>
          <p:cNvSpPr>
            <a:spLocks noGrp="1"/>
          </p:cNvSpPr>
          <p:nvPr>
            <p:ph type="pic" sz="quarter" idx="19"/>
          </p:nvPr>
        </p:nvSpPr>
        <p:spPr>
          <a:xfrm>
            <a:off x="5298868" y="2934769"/>
            <a:ext cx="763786" cy="763587"/>
          </a:xfrm>
          <a:prstGeom prst="ellipse">
            <a:avLst/>
          </a:prstGeom>
          <a:solidFill>
            <a:schemeClr val="accent5"/>
          </a:solidFill>
          <a:ln w="19050">
            <a:solidFill>
              <a:srgbClr val="294E95"/>
            </a:solidFill>
          </a:ln>
        </p:spPr>
        <p:txBody>
          <a:bodyPr lIns="0" rIns="0" anchor="ctr" anchorCtr="0"/>
          <a:lstStyle>
            <a:lvl1pPr marL="0" indent="0" algn="ctr">
              <a:buNone/>
              <a:defRPr sz="1200"/>
            </a:lvl1pPr>
          </a:lstStyle>
          <a:p>
            <a:r>
              <a:rPr lang="en-US"/>
              <a:t>Click icon to add picture</a:t>
            </a:r>
          </a:p>
        </p:txBody>
      </p:sp>
    </p:spTree>
    <p:extLst>
      <p:ext uri="{BB962C8B-B14F-4D97-AF65-F5344CB8AC3E}">
        <p14:creationId xmlns:p14="http://schemas.microsoft.com/office/powerpoint/2010/main" val="285495618"/>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with Subtitle Content">
    <p:bg>
      <p:bgPr>
        <a:solidFill>
          <a:schemeClr val="bg1"/>
        </a:solidFill>
        <a:effectLst/>
      </p:bgPr>
    </p:bg>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760610" y="1749388"/>
            <a:ext cx="10673829" cy="4346612"/>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tx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827BD319-CE6A-C56C-FAF4-F7D3C4B20C07}"/>
              </a:ext>
            </a:extLst>
          </p:cNvPr>
          <p:cNvSpPr>
            <a:spLocks noGrp="1"/>
          </p:cNvSpPr>
          <p:nvPr>
            <p:ph type="sldNum" sz="quarter" idx="11"/>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367564744"/>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Slide">
    <p:bg>
      <p:bgPr>
        <a:solidFill>
          <a:schemeClr val="bg1"/>
        </a:solidFill>
        <a:effectLst/>
      </p:bgPr>
    </p:bg>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0" y="1307593"/>
            <a:ext cx="5070324"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half" idx="14"/>
          </p:nvPr>
        </p:nvSpPr>
        <p:spPr bwMode="gray">
          <a:xfrm>
            <a:off x="6340962" y="1307593"/>
            <a:ext cx="5067096"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02FE5186-E704-46DB-A234-0339427F829C}"/>
              </a:ext>
            </a:extLst>
          </p:cNvPr>
          <p:cNvSpPr>
            <a:spLocks noGrp="1"/>
          </p:cNvSpPr>
          <p:nvPr>
            <p:ph type="sldNum" sz="quarter" idx="15"/>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921594223"/>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Column Slide">
    <p:bg>
      <p:bgPr>
        <a:solidFill>
          <a:schemeClr val="bg1"/>
        </a:solidFill>
        <a:effectLst/>
      </p:bgPr>
    </p:bg>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4"/>
            <a:ext cx="3343142"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sz="half" idx="10"/>
          </p:nvPr>
        </p:nvSpPr>
        <p:spPr bwMode="gray">
          <a:xfrm>
            <a:off x="4378398" y="1307594"/>
            <a:ext cx="3344059"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sz="half" idx="11"/>
          </p:nvPr>
        </p:nvSpPr>
        <p:spPr bwMode="gray">
          <a:xfrm>
            <a:off x="8017903" y="1307594"/>
            <a:ext cx="3416536"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0C61C74C-45BE-3DE8-0DFD-4B97D814FB04}"/>
              </a:ext>
            </a:extLst>
          </p:cNvPr>
          <p:cNvSpPr>
            <a:spLocks noGrp="1"/>
          </p:cNvSpPr>
          <p:nvPr>
            <p:ph type="sldNum" sz="quarter" idx="12"/>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093758766"/>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w/Image">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1" y="442528"/>
            <a:ext cx="5725006"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3"/>
            <a:ext cx="5725006"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8"/>
          <p:cNvSpPr>
            <a:spLocks noGrp="1"/>
          </p:cNvSpPr>
          <p:nvPr>
            <p:ph type="pic" sz="quarter" idx="16"/>
          </p:nvPr>
        </p:nvSpPr>
        <p:spPr>
          <a:xfrm>
            <a:off x="6858199" y="0"/>
            <a:ext cx="5333800"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2" name="Slide Number Placeholder 1">
            <a:extLst>
              <a:ext uri="{FF2B5EF4-FFF2-40B4-BE49-F238E27FC236}">
                <a16:creationId xmlns:a16="http://schemas.microsoft.com/office/drawing/2014/main" id="{C8F3C117-A202-AC1A-30DA-A95049B2670E}"/>
              </a:ext>
            </a:extLst>
          </p:cNvPr>
          <p:cNvSpPr>
            <a:spLocks noGrp="1"/>
          </p:cNvSpPr>
          <p:nvPr>
            <p:ph type="sldNum" sz="quarter" idx="17"/>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71800273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ith Subtitle Content_Black">
    <p:bg>
      <p:bgPr>
        <a:solidFill>
          <a:srgbClr val="1E0013"/>
        </a:solidFill>
        <a:effectLst/>
      </p:bgPr>
    </p:bg>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760610" y="1749389"/>
            <a:ext cx="10673829" cy="4346612"/>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hasCustomPrompt="1"/>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bg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C2F390D5-FAC3-3E07-D977-2FACDFA7E866}"/>
              </a:ext>
            </a:extLst>
          </p:cNvPr>
          <p:cNvSpPr>
            <a:spLocks noGrp="1"/>
          </p:cNvSpPr>
          <p:nvPr>
            <p:ph type="sldNum" sz="quarter" idx="11"/>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581463429"/>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 Statement">
    <p:spTree>
      <p:nvGrpSpPr>
        <p:cNvPr id="1" name=""/>
        <p:cNvGrpSpPr/>
        <p:nvPr/>
      </p:nvGrpSpPr>
      <p:grpSpPr>
        <a:xfrm>
          <a:off x="0" y="0"/>
          <a:ext cx="0" cy="0"/>
          <a:chOff x="0" y="0"/>
          <a:chExt cx="0" cy="0"/>
        </a:xfrm>
      </p:grpSpPr>
      <p:sp>
        <p:nvSpPr>
          <p:cNvPr id="6" name="Picture Placeholder 8"/>
          <p:cNvSpPr>
            <a:spLocks noGrp="1"/>
          </p:cNvSpPr>
          <p:nvPr>
            <p:ph type="pic" sz="quarter" idx="16"/>
          </p:nvPr>
        </p:nvSpPr>
        <p:spPr>
          <a:xfrm>
            <a:off x="4062849" y="0"/>
            <a:ext cx="8129151"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3" name="Rectangle 2"/>
          <p:cNvSpPr/>
          <p:nvPr userDrawn="1"/>
        </p:nvSpPr>
        <p:spPr>
          <a:xfrm>
            <a:off x="1" y="0"/>
            <a:ext cx="406284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 Placeholder 3"/>
          <p:cNvSpPr>
            <a:spLocks noGrp="1"/>
          </p:cNvSpPr>
          <p:nvPr>
            <p:ph type="body" sz="quarter" idx="18" hasCustomPrompt="1"/>
          </p:nvPr>
        </p:nvSpPr>
        <p:spPr>
          <a:xfrm>
            <a:off x="548783" y="849536"/>
            <a:ext cx="3514066" cy="1926795"/>
          </a:xfrm>
          <a:prstGeom prst="rect">
            <a:avLst/>
          </a:prstGeom>
          <a:noFill/>
        </p:spPr>
        <p:txBody>
          <a:bodyPr lIns="0" tIns="0" rIns="0" bIns="0" anchor="t">
            <a:noAutofit/>
          </a:bodyPr>
          <a:lstStyle>
            <a:lvl1pPr marL="0" indent="0">
              <a:lnSpc>
                <a:spcPts val="4200"/>
              </a:lnSpc>
              <a:spcBef>
                <a:spcPts val="0"/>
              </a:spcBef>
              <a:buFont typeface="Arial" panose="020B0604020202020204" pitchFamily="34" charset="0"/>
              <a:buNone/>
              <a:defRPr sz="4600" b="1" strike="noStrike" spc="-150" baseline="0">
                <a:solidFill>
                  <a:schemeClr val="tx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Photo plus</a:t>
            </a:r>
            <a:br>
              <a:rPr lang="en-US"/>
            </a:br>
            <a:r>
              <a:rPr lang="en-US"/>
              <a:t>statement</a:t>
            </a:r>
            <a:br>
              <a:rPr lang="en-US"/>
            </a:br>
            <a:r>
              <a:rPr lang="en-US"/>
              <a:t>layout</a:t>
            </a:r>
          </a:p>
        </p:txBody>
      </p:sp>
      <p:sp>
        <p:nvSpPr>
          <p:cNvPr id="8" name="Text Placeholder 7"/>
          <p:cNvSpPr>
            <a:spLocks noGrp="1"/>
          </p:cNvSpPr>
          <p:nvPr>
            <p:ph type="body" sz="quarter" idx="19" hasCustomPrompt="1"/>
          </p:nvPr>
        </p:nvSpPr>
        <p:spPr>
          <a:xfrm>
            <a:off x="548784" y="2943639"/>
            <a:ext cx="3514065" cy="1641615"/>
          </a:xfrm>
          <a:prstGeom prst="rect">
            <a:avLst/>
          </a:prstGeom>
        </p:spPr>
        <p:txBody>
          <a:bodyPr lIns="0" tIns="0" rIns="0" bIns="0"/>
          <a:lstStyle>
            <a:lvl1pPr marL="0" indent="0">
              <a:lnSpc>
                <a:spcPts val="2400"/>
              </a:lnSpc>
              <a:spcBef>
                <a:spcPts val="0"/>
              </a:spcBef>
              <a:buNone/>
              <a:defRPr sz="2400" baseline="0">
                <a:solidFill>
                  <a:schemeClr val="tx1"/>
                </a:solidFill>
              </a:defRPr>
            </a:lvl1pPr>
            <a:lvl2pPr marL="609494" indent="0">
              <a:buNone/>
              <a:defRPr/>
            </a:lvl2pPr>
            <a:lvl3pPr marL="1218986" indent="0">
              <a:buNone/>
              <a:defRPr/>
            </a:lvl3pPr>
            <a:lvl4pPr marL="1828480" indent="0">
              <a:buNone/>
              <a:defRPr/>
            </a:lvl4pPr>
            <a:lvl5pPr marL="2437973" indent="0">
              <a:buNone/>
              <a:defRPr/>
            </a:lvl5pPr>
          </a:lstStyle>
          <a:p>
            <a:pPr lvl="0"/>
            <a:r>
              <a:rPr lang="en-US"/>
              <a:t>Subtitle goes here</a:t>
            </a:r>
          </a:p>
        </p:txBody>
      </p:sp>
      <p:sp>
        <p:nvSpPr>
          <p:cNvPr id="7" name="Slide Number Placeholder 1">
            <a:extLst>
              <a:ext uri="{FF2B5EF4-FFF2-40B4-BE49-F238E27FC236}">
                <a16:creationId xmlns:a16="http://schemas.microsoft.com/office/drawing/2014/main" id="{C9E4313D-4BB5-4FBE-BED7-2E337B7C6B9C}"/>
              </a:ext>
            </a:extLst>
          </p:cNvPr>
          <p:cNvSpPr>
            <a:spLocks noGrp="1"/>
          </p:cNvSpPr>
          <p:nvPr>
            <p:ph type="sldNum" sz="quarter" idx="20"/>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880460456"/>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15" name="Text Placeholder 107"/>
          <p:cNvSpPr>
            <a:spLocks noGrp="1"/>
          </p:cNvSpPr>
          <p:nvPr>
            <p:ph type="body" sz="quarter" idx="18" hasCustomPrompt="1"/>
          </p:nvPr>
        </p:nvSpPr>
        <p:spPr bwMode="white">
          <a:xfrm>
            <a:off x="759025" y="1812556"/>
            <a:ext cx="9910169" cy="2759445"/>
          </a:xfrm>
          <a:prstGeom prst="rect">
            <a:avLst/>
          </a:prstGeom>
        </p:spPr>
        <p:txBody>
          <a:bodyPr lIns="0" anchor="t">
            <a:normAutofit/>
          </a:bodyPr>
          <a:lstStyle>
            <a:lvl1pPr marL="0" indent="0" algn="l">
              <a:lnSpc>
                <a:spcPct val="85000"/>
              </a:lnSpc>
              <a:spcBef>
                <a:spcPts val="0"/>
              </a:spcBef>
              <a:buNone/>
              <a:defRPr sz="4400" b="1" spc="-150">
                <a:solidFill>
                  <a:schemeClr val="tx1"/>
                </a:solidFill>
              </a:defRPr>
            </a:lvl1pPr>
            <a:lvl2pPr marL="341313" indent="0" algn="ctr">
              <a:buNone/>
              <a:defRPr>
                <a:solidFill>
                  <a:schemeClr val="bg1"/>
                </a:solidFill>
              </a:defRPr>
            </a:lvl2pPr>
            <a:lvl3pPr marL="679450" indent="0" algn="ctr">
              <a:buNone/>
              <a:defRPr>
                <a:solidFill>
                  <a:schemeClr val="bg1"/>
                </a:solidFill>
              </a:defRPr>
            </a:lvl3pPr>
            <a:lvl4pPr marL="966787" indent="0" algn="ctr">
              <a:buNone/>
              <a:defRPr>
                <a:solidFill>
                  <a:schemeClr val="bg1"/>
                </a:solidFill>
              </a:defRPr>
            </a:lvl4pPr>
            <a:lvl5pPr marL="1146175" indent="0" algn="ctr">
              <a:buNone/>
              <a:defRPr>
                <a:solidFill>
                  <a:schemeClr val="bg1"/>
                </a:solidFill>
              </a:defRPr>
            </a:lvl5pPr>
          </a:lstStyle>
          <a:p>
            <a:pPr lvl="0"/>
            <a:r>
              <a:rPr lang="en-US"/>
              <a:t>Click to edit quote</a:t>
            </a:r>
          </a:p>
        </p:txBody>
      </p:sp>
      <p:sp>
        <p:nvSpPr>
          <p:cNvPr id="17" name="Text Placeholder 110"/>
          <p:cNvSpPr>
            <a:spLocks noGrp="1"/>
          </p:cNvSpPr>
          <p:nvPr>
            <p:ph type="body" sz="quarter" idx="19" hasCustomPrompt="1"/>
          </p:nvPr>
        </p:nvSpPr>
        <p:spPr>
          <a:xfrm>
            <a:off x="759024" y="5045446"/>
            <a:ext cx="9910169" cy="406265"/>
          </a:xfrm>
          <a:prstGeom prst="rect">
            <a:avLst/>
          </a:prstGeom>
        </p:spPr>
        <p:txBody>
          <a:bodyPr lIns="0">
            <a:spAutoFit/>
          </a:bodyPr>
          <a:lstStyle>
            <a:lvl1pPr marL="0" indent="0" algn="l">
              <a:lnSpc>
                <a:spcPct val="85000"/>
              </a:lnSpc>
              <a:spcBef>
                <a:spcPts val="0"/>
              </a:spcBef>
              <a:buNone/>
              <a:defRPr sz="2400" b="1" spc="-150" baseline="0">
                <a:solidFill>
                  <a:schemeClr val="tx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Click to edit quote source</a:t>
            </a:r>
          </a:p>
        </p:txBody>
      </p:sp>
      <p:sp>
        <p:nvSpPr>
          <p:cNvPr id="2" name="Slide Number Placeholder 1">
            <a:extLst>
              <a:ext uri="{FF2B5EF4-FFF2-40B4-BE49-F238E27FC236}">
                <a16:creationId xmlns:a16="http://schemas.microsoft.com/office/drawing/2014/main" id="{3E815315-0D5A-DC09-BF8B-373910164840}"/>
              </a:ext>
            </a:extLst>
          </p:cNvPr>
          <p:cNvSpPr>
            <a:spLocks noGrp="1"/>
          </p:cNvSpPr>
          <p:nvPr>
            <p:ph type="sldNum" sz="quarter" idx="20"/>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grpSp>
        <p:nvGrpSpPr>
          <p:cNvPr id="11" name="Group 10">
            <a:extLst>
              <a:ext uri="{FF2B5EF4-FFF2-40B4-BE49-F238E27FC236}">
                <a16:creationId xmlns:a16="http://schemas.microsoft.com/office/drawing/2014/main" id="{A037CD95-D004-2B21-4A36-C02C76A5C015}"/>
              </a:ext>
            </a:extLst>
          </p:cNvPr>
          <p:cNvGrpSpPr/>
          <p:nvPr userDrawn="1"/>
        </p:nvGrpSpPr>
        <p:grpSpPr>
          <a:xfrm>
            <a:off x="759024" y="788988"/>
            <a:ext cx="990858" cy="735013"/>
            <a:chOff x="657226" y="398463"/>
            <a:chExt cx="990600" cy="735013"/>
          </a:xfrm>
          <a:gradFill>
            <a:gsLst>
              <a:gs pos="100000">
                <a:srgbClr val="F5A598"/>
              </a:gs>
              <a:gs pos="47000">
                <a:srgbClr val="D2ADC9"/>
              </a:gs>
              <a:gs pos="77000">
                <a:srgbClr val="E6BDC1"/>
              </a:gs>
              <a:gs pos="9000">
                <a:srgbClr val="A7B6D3"/>
              </a:gs>
            </a:gsLst>
            <a:lin ang="13500000" scaled="1"/>
          </a:gradFill>
        </p:grpSpPr>
        <p:sp>
          <p:nvSpPr>
            <p:cNvPr id="12" name="Freeform 5">
              <a:extLst>
                <a:ext uri="{FF2B5EF4-FFF2-40B4-BE49-F238E27FC236}">
                  <a16:creationId xmlns:a16="http://schemas.microsoft.com/office/drawing/2014/main" id="{7478010D-01FF-497C-41EB-76A4E063D3B3}"/>
                </a:ext>
              </a:extLst>
            </p:cNvPr>
            <p:cNvSpPr>
              <a:spLocks/>
            </p:cNvSpPr>
            <p:nvPr userDrawn="1"/>
          </p:nvSpPr>
          <p:spPr bwMode="auto">
            <a:xfrm>
              <a:off x="657226" y="398463"/>
              <a:ext cx="452438" cy="735013"/>
            </a:xfrm>
            <a:custGeom>
              <a:avLst/>
              <a:gdLst>
                <a:gd name="T0" fmla="*/ 0 w 452"/>
                <a:gd name="T1" fmla="*/ 428 h 736"/>
                <a:gd name="T2" fmla="*/ 422 w 452"/>
                <a:gd name="T3" fmla="*/ 0 h 736"/>
                <a:gd name="T4" fmla="*/ 452 w 452"/>
                <a:gd name="T5" fmla="*/ 144 h 736"/>
                <a:gd name="T6" fmla="*/ 228 w 452"/>
                <a:gd name="T7" fmla="*/ 370 h 736"/>
                <a:gd name="T8" fmla="*/ 370 w 452"/>
                <a:gd name="T9" fmla="*/ 370 h 736"/>
                <a:gd name="T10" fmla="*/ 370 w 452"/>
                <a:gd name="T11" fmla="*/ 736 h 736"/>
                <a:gd name="T12" fmla="*/ 0 w 452"/>
                <a:gd name="T13" fmla="*/ 736 h 736"/>
                <a:gd name="T14" fmla="*/ 0 w 452"/>
                <a:gd name="T15" fmla="*/ 428 h 7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736">
                  <a:moveTo>
                    <a:pt x="0" y="428"/>
                  </a:moveTo>
                  <a:cubicBezTo>
                    <a:pt x="0" y="126"/>
                    <a:pt x="151" y="5"/>
                    <a:pt x="422" y="0"/>
                  </a:cubicBezTo>
                  <a:cubicBezTo>
                    <a:pt x="452" y="144"/>
                    <a:pt x="452" y="144"/>
                    <a:pt x="452" y="144"/>
                  </a:cubicBezTo>
                  <a:cubicBezTo>
                    <a:pt x="294" y="160"/>
                    <a:pt x="217" y="240"/>
                    <a:pt x="228" y="370"/>
                  </a:cubicBezTo>
                  <a:cubicBezTo>
                    <a:pt x="370" y="370"/>
                    <a:pt x="370" y="370"/>
                    <a:pt x="370" y="370"/>
                  </a:cubicBezTo>
                  <a:cubicBezTo>
                    <a:pt x="370" y="736"/>
                    <a:pt x="370" y="736"/>
                    <a:pt x="370" y="736"/>
                  </a:cubicBezTo>
                  <a:cubicBezTo>
                    <a:pt x="0" y="736"/>
                    <a:pt x="0" y="736"/>
                    <a:pt x="0" y="736"/>
                  </a:cubicBezTo>
                  <a:lnTo>
                    <a:pt x="0"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6">
              <a:extLst>
                <a:ext uri="{FF2B5EF4-FFF2-40B4-BE49-F238E27FC236}">
                  <a16:creationId xmlns:a16="http://schemas.microsoft.com/office/drawing/2014/main" id="{C7C4737E-BF88-7B2F-7399-008A3E052A17}"/>
                </a:ext>
              </a:extLst>
            </p:cNvPr>
            <p:cNvSpPr>
              <a:spLocks/>
            </p:cNvSpPr>
            <p:nvPr userDrawn="1"/>
          </p:nvSpPr>
          <p:spPr bwMode="auto">
            <a:xfrm>
              <a:off x="1195388" y="398463"/>
              <a:ext cx="452438" cy="735013"/>
            </a:xfrm>
            <a:custGeom>
              <a:avLst/>
              <a:gdLst>
                <a:gd name="T0" fmla="*/ 0 w 452"/>
                <a:gd name="T1" fmla="*/ 428 h 736"/>
                <a:gd name="T2" fmla="*/ 422 w 452"/>
                <a:gd name="T3" fmla="*/ 0 h 736"/>
                <a:gd name="T4" fmla="*/ 452 w 452"/>
                <a:gd name="T5" fmla="*/ 144 h 736"/>
                <a:gd name="T6" fmla="*/ 228 w 452"/>
                <a:gd name="T7" fmla="*/ 370 h 736"/>
                <a:gd name="T8" fmla="*/ 370 w 452"/>
                <a:gd name="T9" fmla="*/ 370 h 736"/>
                <a:gd name="T10" fmla="*/ 370 w 452"/>
                <a:gd name="T11" fmla="*/ 736 h 736"/>
                <a:gd name="T12" fmla="*/ 0 w 452"/>
                <a:gd name="T13" fmla="*/ 736 h 736"/>
                <a:gd name="T14" fmla="*/ 0 w 452"/>
                <a:gd name="T15" fmla="*/ 428 h 7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736">
                  <a:moveTo>
                    <a:pt x="0" y="428"/>
                  </a:moveTo>
                  <a:cubicBezTo>
                    <a:pt x="0" y="126"/>
                    <a:pt x="151" y="5"/>
                    <a:pt x="422" y="0"/>
                  </a:cubicBezTo>
                  <a:cubicBezTo>
                    <a:pt x="452" y="144"/>
                    <a:pt x="452" y="144"/>
                    <a:pt x="452" y="144"/>
                  </a:cubicBezTo>
                  <a:cubicBezTo>
                    <a:pt x="294" y="160"/>
                    <a:pt x="217" y="240"/>
                    <a:pt x="228" y="370"/>
                  </a:cubicBezTo>
                  <a:cubicBezTo>
                    <a:pt x="370" y="370"/>
                    <a:pt x="370" y="370"/>
                    <a:pt x="370" y="370"/>
                  </a:cubicBezTo>
                  <a:cubicBezTo>
                    <a:pt x="370" y="736"/>
                    <a:pt x="370" y="736"/>
                    <a:pt x="370" y="736"/>
                  </a:cubicBezTo>
                  <a:cubicBezTo>
                    <a:pt x="0" y="736"/>
                    <a:pt x="0" y="736"/>
                    <a:pt x="0" y="736"/>
                  </a:cubicBezTo>
                  <a:lnTo>
                    <a:pt x="0"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599886183"/>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w/ Product">
    <p:spTree>
      <p:nvGrpSpPr>
        <p:cNvPr id="1" name=""/>
        <p:cNvGrpSpPr/>
        <p:nvPr/>
      </p:nvGrpSpPr>
      <p:grpSpPr>
        <a:xfrm>
          <a:off x="0" y="0"/>
          <a:ext cx="0" cy="0"/>
          <a:chOff x="0" y="0"/>
          <a:chExt cx="0" cy="0"/>
        </a:xfrm>
      </p:grpSpPr>
      <p:sp>
        <p:nvSpPr>
          <p:cNvPr id="7" name="Picture Placeholder 8"/>
          <p:cNvSpPr>
            <a:spLocks noGrp="1"/>
          </p:cNvSpPr>
          <p:nvPr>
            <p:ph type="pic" sz="quarter" idx="17"/>
          </p:nvPr>
        </p:nvSpPr>
        <p:spPr>
          <a:xfrm>
            <a:off x="0" y="0"/>
            <a:ext cx="6095999"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9" name="Content Placeholder 2"/>
          <p:cNvSpPr>
            <a:spLocks noGrp="1"/>
          </p:cNvSpPr>
          <p:nvPr>
            <p:ph sz="half" idx="18"/>
          </p:nvPr>
        </p:nvSpPr>
        <p:spPr bwMode="gray">
          <a:xfrm>
            <a:off x="6858198" y="1307593"/>
            <a:ext cx="4573192"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28"/>
          <p:cNvSpPr>
            <a:spLocks noGrp="1"/>
          </p:cNvSpPr>
          <p:nvPr>
            <p:ph type="title" hasCustomPrompt="1"/>
          </p:nvPr>
        </p:nvSpPr>
        <p:spPr bwMode="gray">
          <a:xfrm>
            <a:off x="6858198" y="442528"/>
            <a:ext cx="4573192"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title</a:t>
            </a:r>
          </a:p>
        </p:txBody>
      </p:sp>
      <p:sp>
        <p:nvSpPr>
          <p:cNvPr id="2" name="Slide Number Placeholder 1">
            <a:extLst>
              <a:ext uri="{FF2B5EF4-FFF2-40B4-BE49-F238E27FC236}">
                <a16:creationId xmlns:a16="http://schemas.microsoft.com/office/drawing/2014/main" id="{0AFBC96C-E04F-90E6-1BBE-C65ECD6E5C14}"/>
              </a:ext>
            </a:extLst>
          </p:cNvPr>
          <p:cNvSpPr>
            <a:spLocks noGrp="1"/>
          </p:cNvSpPr>
          <p:nvPr>
            <p:ph type="sldNum" sz="quarter" idx="19"/>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454848865"/>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sp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9" name="Chart Placeholder 2"/>
          <p:cNvSpPr>
            <a:spLocks noGrp="1"/>
          </p:cNvSpPr>
          <p:nvPr>
            <p:ph type="chart" sz="quarter" idx="10" hasCustomPrompt="1"/>
          </p:nvPr>
        </p:nvSpPr>
        <p:spPr bwMode="gray">
          <a:xfrm>
            <a:off x="760612" y="1524000"/>
            <a:ext cx="10670779" cy="4572000"/>
          </a:xfrm>
          <a:prstGeom prst="rect">
            <a:avLst/>
          </a:prstGeom>
        </p:spPr>
        <p:txBody>
          <a:bodyPr lIns="121899" tIns="853291" rIns="121899" bIns="60949" anchor="ctr" anchorCtr="0"/>
          <a:lstStyle>
            <a:lvl1pPr marL="0" indent="0" algn="ctr">
              <a:buFontTx/>
              <a:buNone/>
              <a:defRPr sz="2400" baseline="0">
                <a:solidFill>
                  <a:schemeClr val="bg2"/>
                </a:solidFill>
              </a:defRPr>
            </a:lvl1pPr>
          </a:lstStyle>
          <a:p>
            <a:r>
              <a:rPr lang="en-US"/>
              <a:t>Click icon to create chart</a:t>
            </a:r>
          </a:p>
        </p:txBody>
      </p:sp>
      <p:sp>
        <p:nvSpPr>
          <p:cNvPr id="2" name="Slide Number Placeholder 1">
            <a:extLst>
              <a:ext uri="{FF2B5EF4-FFF2-40B4-BE49-F238E27FC236}">
                <a16:creationId xmlns:a16="http://schemas.microsoft.com/office/drawing/2014/main" id="{BBE9C038-E754-006F-B382-D714EB949571}"/>
              </a:ext>
            </a:extLst>
          </p:cNvPr>
          <p:cNvSpPr>
            <a:spLocks noGrp="1"/>
          </p:cNvSpPr>
          <p:nvPr>
            <p:ph type="sldNum" sz="quarter" idx="11"/>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592083721"/>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2E9409-35B8-57EB-2941-154C5CA02C34}"/>
              </a:ext>
            </a:extLst>
          </p:cNvPr>
          <p:cNvSpPr>
            <a:spLocks noGrp="1"/>
          </p:cNvSpPr>
          <p:nvPr>
            <p:ph type="sldNum" sz="quarter" idx="10"/>
          </p:nvPr>
        </p:nvSpPr>
        <p:spPr>
          <a:xfrm>
            <a:off x="11672569" y="6400800"/>
            <a:ext cx="439026" cy="155448"/>
          </a:xfrm>
          <a:prstGeom prst="rect">
            <a:avLst/>
          </a:prstGeom>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4060198895"/>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losing Slide_Bla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66" name="Group 165">
            <a:extLst>
              <a:ext uri="{FF2B5EF4-FFF2-40B4-BE49-F238E27FC236}">
                <a16:creationId xmlns:a16="http://schemas.microsoft.com/office/drawing/2014/main" id="{45DF6D6F-9C39-7C31-64D4-4BCE9C9CA5D6}"/>
              </a:ext>
            </a:extLst>
          </p:cNvPr>
          <p:cNvGrpSpPr/>
          <p:nvPr userDrawn="1"/>
        </p:nvGrpSpPr>
        <p:grpSpPr>
          <a:xfrm>
            <a:off x="1539348" y="3561908"/>
            <a:ext cx="7853422" cy="1769127"/>
            <a:chOff x="541049" y="2649538"/>
            <a:chExt cx="9285724" cy="2092325"/>
          </a:xfrm>
          <a:solidFill>
            <a:schemeClr val="bg1"/>
          </a:solidFill>
        </p:grpSpPr>
        <p:sp>
          <p:nvSpPr>
            <p:cNvPr id="167" name="Freeform 5">
              <a:extLst>
                <a:ext uri="{FF2B5EF4-FFF2-40B4-BE49-F238E27FC236}">
                  <a16:creationId xmlns:a16="http://schemas.microsoft.com/office/drawing/2014/main" id="{E109AFA1-C190-E6CF-D819-5DDBF44B5ED2}"/>
                </a:ext>
              </a:extLst>
            </p:cNvPr>
            <p:cNvSpPr>
              <a:spLocks/>
            </p:cNvSpPr>
            <p:nvPr userDrawn="1"/>
          </p:nvSpPr>
          <p:spPr bwMode="auto">
            <a:xfrm>
              <a:off x="541049" y="2809876"/>
              <a:ext cx="963613" cy="1928813"/>
            </a:xfrm>
            <a:custGeom>
              <a:avLst/>
              <a:gdLst>
                <a:gd name="T0" fmla="*/ 57 w 301"/>
                <a:gd name="T1" fmla="*/ 458 h 600"/>
                <a:gd name="T2" fmla="*/ 57 w 301"/>
                <a:gd name="T3" fmla="*/ 235 h 600"/>
                <a:gd name="T4" fmla="*/ 0 w 301"/>
                <a:gd name="T5" fmla="*/ 235 h 600"/>
                <a:gd name="T6" fmla="*/ 0 w 301"/>
                <a:gd name="T7" fmla="*/ 121 h 600"/>
                <a:gd name="T8" fmla="*/ 57 w 301"/>
                <a:gd name="T9" fmla="*/ 121 h 600"/>
                <a:gd name="T10" fmla="*/ 57 w 301"/>
                <a:gd name="T11" fmla="*/ 0 h 600"/>
                <a:gd name="T12" fmla="*/ 190 w 301"/>
                <a:gd name="T13" fmla="*/ 0 h 600"/>
                <a:gd name="T14" fmla="*/ 190 w 301"/>
                <a:gd name="T15" fmla="*/ 121 h 600"/>
                <a:gd name="T16" fmla="*/ 301 w 301"/>
                <a:gd name="T17" fmla="*/ 121 h 600"/>
                <a:gd name="T18" fmla="*/ 301 w 301"/>
                <a:gd name="T19" fmla="*/ 235 h 600"/>
                <a:gd name="T20" fmla="*/ 190 w 301"/>
                <a:gd name="T21" fmla="*/ 235 h 600"/>
                <a:gd name="T22" fmla="*/ 190 w 301"/>
                <a:gd name="T23" fmla="*/ 436 h 600"/>
                <a:gd name="T24" fmla="*/ 233 w 301"/>
                <a:gd name="T25" fmla="*/ 482 h 600"/>
                <a:gd name="T26" fmla="*/ 299 w 301"/>
                <a:gd name="T27" fmla="*/ 465 h 600"/>
                <a:gd name="T28" fmla="*/ 299 w 301"/>
                <a:gd name="T29" fmla="*/ 573 h 600"/>
                <a:gd name="T30" fmla="*/ 194 w 301"/>
                <a:gd name="T31" fmla="*/ 600 h 600"/>
                <a:gd name="T32" fmla="*/ 57 w 301"/>
                <a:gd name="T33" fmla="*/ 45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600">
                  <a:moveTo>
                    <a:pt x="57" y="458"/>
                  </a:moveTo>
                  <a:cubicBezTo>
                    <a:pt x="57" y="235"/>
                    <a:pt x="57" y="235"/>
                    <a:pt x="57" y="235"/>
                  </a:cubicBezTo>
                  <a:cubicBezTo>
                    <a:pt x="0" y="235"/>
                    <a:pt x="0" y="235"/>
                    <a:pt x="0" y="235"/>
                  </a:cubicBezTo>
                  <a:cubicBezTo>
                    <a:pt x="0" y="121"/>
                    <a:pt x="0" y="121"/>
                    <a:pt x="0" y="121"/>
                  </a:cubicBezTo>
                  <a:cubicBezTo>
                    <a:pt x="57" y="121"/>
                    <a:pt x="57" y="121"/>
                    <a:pt x="57" y="121"/>
                  </a:cubicBezTo>
                  <a:cubicBezTo>
                    <a:pt x="57" y="0"/>
                    <a:pt x="57" y="0"/>
                    <a:pt x="57" y="0"/>
                  </a:cubicBezTo>
                  <a:cubicBezTo>
                    <a:pt x="190" y="0"/>
                    <a:pt x="190" y="0"/>
                    <a:pt x="190" y="0"/>
                  </a:cubicBezTo>
                  <a:cubicBezTo>
                    <a:pt x="190" y="121"/>
                    <a:pt x="190" y="121"/>
                    <a:pt x="190" y="121"/>
                  </a:cubicBezTo>
                  <a:cubicBezTo>
                    <a:pt x="301" y="121"/>
                    <a:pt x="301" y="121"/>
                    <a:pt x="301" y="121"/>
                  </a:cubicBezTo>
                  <a:cubicBezTo>
                    <a:pt x="301" y="235"/>
                    <a:pt x="301" y="235"/>
                    <a:pt x="301" y="235"/>
                  </a:cubicBezTo>
                  <a:cubicBezTo>
                    <a:pt x="190" y="235"/>
                    <a:pt x="190" y="235"/>
                    <a:pt x="190" y="235"/>
                  </a:cubicBezTo>
                  <a:cubicBezTo>
                    <a:pt x="190" y="436"/>
                    <a:pt x="190" y="436"/>
                    <a:pt x="190" y="436"/>
                  </a:cubicBezTo>
                  <a:cubicBezTo>
                    <a:pt x="190" y="467"/>
                    <a:pt x="203" y="482"/>
                    <a:pt x="233" y="482"/>
                  </a:cubicBezTo>
                  <a:cubicBezTo>
                    <a:pt x="258" y="482"/>
                    <a:pt x="280" y="476"/>
                    <a:pt x="299" y="465"/>
                  </a:cubicBezTo>
                  <a:cubicBezTo>
                    <a:pt x="299" y="573"/>
                    <a:pt x="299" y="573"/>
                    <a:pt x="299" y="573"/>
                  </a:cubicBezTo>
                  <a:cubicBezTo>
                    <a:pt x="271" y="590"/>
                    <a:pt x="239" y="600"/>
                    <a:pt x="194" y="600"/>
                  </a:cubicBezTo>
                  <a:cubicBezTo>
                    <a:pt x="112" y="600"/>
                    <a:pt x="57" y="568"/>
                    <a:pt x="57"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8" name="Freeform 6">
              <a:extLst>
                <a:ext uri="{FF2B5EF4-FFF2-40B4-BE49-F238E27FC236}">
                  <a16:creationId xmlns:a16="http://schemas.microsoft.com/office/drawing/2014/main" id="{1969BD4D-0C40-739F-FF6B-4214C2BEBC90}"/>
                </a:ext>
              </a:extLst>
            </p:cNvPr>
            <p:cNvSpPr>
              <a:spLocks/>
            </p:cNvSpPr>
            <p:nvPr userDrawn="1"/>
          </p:nvSpPr>
          <p:spPr bwMode="auto">
            <a:xfrm>
              <a:off x="1708151" y="2649538"/>
              <a:ext cx="1382713" cy="2063750"/>
            </a:xfrm>
            <a:custGeom>
              <a:avLst/>
              <a:gdLst>
                <a:gd name="T0" fmla="*/ 0 w 432"/>
                <a:gd name="T1" fmla="*/ 0 h 642"/>
                <a:gd name="T2" fmla="*/ 134 w 432"/>
                <a:gd name="T3" fmla="*/ 0 h 642"/>
                <a:gd name="T4" fmla="*/ 134 w 432"/>
                <a:gd name="T5" fmla="*/ 237 h 642"/>
                <a:gd name="T6" fmla="*/ 272 w 432"/>
                <a:gd name="T7" fmla="*/ 162 h 642"/>
                <a:gd name="T8" fmla="*/ 432 w 432"/>
                <a:gd name="T9" fmla="*/ 337 h 642"/>
                <a:gd name="T10" fmla="*/ 432 w 432"/>
                <a:gd name="T11" fmla="*/ 642 h 642"/>
                <a:gd name="T12" fmla="*/ 298 w 432"/>
                <a:gd name="T13" fmla="*/ 642 h 642"/>
                <a:gd name="T14" fmla="*/ 298 w 432"/>
                <a:gd name="T15" fmla="*/ 379 h 642"/>
                <a:gd name="T16" fmla="*/ 218 w 432"/>
                <a:gd name="T17" fmla="*/ 283 h 642"/>
                <a:gd name="T18" fmla="*/ 134 w 432"/>
                <a:gd name="T19" fmla="*/ 379 h 642"/>
                <a:gd name="T20" fmla="*/ 134 w 432"/>
                <a:gd name="T21" fmla="*/ 642 h 642"/>
                <a:gd name="T22" fmla="*/ 0 w 432"/>
                <a:gd name="T23" fmla="*/ 642 h 642"/>
                <a:gd name="T24" fmla="*/ 0 w 432"/>
                <a:gd name="T25"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642">
                  <a:moveTo>
                    <a:pt x="0" y="0"/>
                  </a:moveTo>
                  <a:cubicBezTo>
                    <a:pt x="134" y="0"/>
                    <a:pt x="134" y="0"/>
                    <a:pt x="134" y="0"/>
                  </a:cubicBezTo>
                  <a:cubicBezTo>
                    <a:pt x="134" y="237"/>
                    <a:pt x="134" y="237"/>
                    <a:pt x="134" y="237"/>
                  </a:cubicBezTo>
                  <a:cubicBezTo>
                    <a:pt x="165" y="198"/>
                    <a:pt x="204" y="162"/>
                    <a:pt x="272" y="162"/>
                  </a:cubicBezTo>
                  <a:cubicBezTo>
                    <a:pt x="373" y="162"/>
                    <a:pt x="432" y="229"/>
                    <a:pt x="432" y="337"/>
                  </a:cubicBezTo>
                  <a:cubicBezTo>
                    <a:pt x="432" y="642"/>
                    <a:pt x="432" y="642"/>
                    <a:pt x="432" y="642"/>
                  </a:cubicBezTo>
                  <a:cubicBezTo>
                    <a:pt x="298" y="642"/>
                    <a:pt x="298" y="642"/>
                    <a:pt x="298" y="642"/>
                  </a:cubicBezTo>
                  <a:cubicBezTo>
                    <a:pt x="298" y="379"/>
                    <a:pt x="298" y="379"/>
                    <a:pt x="298" y="379"/>
                  </a:cubicBezTo>
                  <a:cubicBezTo>
                    <a:pt x="298" y="316"/>
                    <a:pt x="269" y="283"/>
                    <a:pt x="218" y="283"/>
                  </a:cubicBezTo>
                  <a:cubicBezTo>
                    <a:pt x="166" y="283"/>
                    <a:pt x="134" y="316"/>
                    <a:pt x="134" y="379"/>
                  </a:cubicBezTo>
                  <a:cubicBezTo>
                    <a:pt x="134" y="642"/>
                    <a:pt x="134" y="642"/>
                    <a:pt x="134" y="642"/>
                  </a:cubicBezTo>
                  <a:cubicBezTo>
                    <a:pt x="0" y="642"/>
                    <a:pt x="0" y="642"/>
                    <a:pt x="0" y="64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9" name="Freeform 7">
              <a:extLst>
                <a:ext uri="{FF2B5EF4-FFF2-40B4-BE49-F238E27FC236}">
                  <a16:creationId xmlns:a16="http://schemas.microsoft.com/office/drawing/2014/main" id="{6DB7C37A-1FE6-9BFA-5E83-3EC0F79497F5}"/>
                </a:ext>
              </a:extLst>
            </p:cNvPr>
            <p:cNvSpPr>
              <a:spLocks noEditPoints="1"/>
            </p:cNvSpPr>
            <p:nvPr userDrawn="1"/>
          </p:nvSpPr>
          <p:spPr bwMode="auto">
            <a:xfrm>
              <a:off x="3261304" y="3179763"/>
              <a:ext cx="1390650" cy="1562100"/>
            </a:xfrm>
            <a:custGeom>
              <a:avLst/>
              <a:gdLst>
                <a:gd name="T0" fmla="*/ 0 w 434"/>
                <a:gd name="T1" fmla="*/ 342 h 486"/>
                <a:gd name="T2" fmla="*/ 0 w 434"/>
                <a:gd name="T3" fmla="*/ 340 h 486"/>
                <a:gd name="T4" fmla="*/ 190 w 434"/>
                <a:gd name="T5" fmla="*/ 189 h 486"/>
                <a:gd name="T6" fmla="*/ 305 w 434"/>
                <a:gd name="T7" fmla="*/ 209 h 486"/>
                <a:gd name="T8" fmla="*/ 305 w 434"/>
                <a:gd name="T9" fmla="*/ 201 h 486"/>
                <a:gd name="T10" fmla="*/ 204 w 434"/>
                <a:gd name="T11" fmla="*/ 115 h 486"/>
                <a:gd name="T12" fmla="*/ 74 w 434"/>
                <a:gd name="T13" fmla="*/ 140 h 486"/>
                <a:gd name="T14" fmla="*/ 40 w 434"/>
                <a:gd name="T15" fmla="*/ 38 h 486"/>
                <a:gd name="T16" fmla="*/ 223 w 434"/>
                <a:gd name="T17" fmla="*/ 0 h 486"/>
                <a:gd name="T18" fmla="*/ 383 w 434"/>
                <a:gd name="T19" fmla="*/ 53 h 486"/>
                <a:gd name="T20" fmla="*/ 434 w 434"/>
                <a:gd name="T21" fmla="*/ 204 h 486"/>
                <a:gd name="T22" fmla="*/ 434 w 434"/>
                <a:gd name="T23" fmla="*/ 477 h 486"/>
                <a:gd name="T24" fmla="*/ 304 w 434"/>
                <a:gd name="T25" fmla="*/ 477 h 486"/>
                <a:gd name="T26" fmla="*/ 304 w 434"/>
                <a:gd name="T27" fmla="*/ 426 h 486"/>
                <a:gd name="T28" fmla="*/ 162 w 434"/>
                <a:gd name="T29" fmla="*/ 486 h 486"/>
                <a:gd name="T30" fmla="*/ 0 w 434"/>
                <a:gd name="T31" fmla="*/ 342 h 486"/>
                <a:gd name="T32" fmla="*/ 307 w 434"/>
                <a:gd name="T33" fmla="*/ 311 h 486"/>
                <a:gd name="T34" fmla="*/ 307 w 434"/>
                <a:gd name="T35" fmla="*/ 287 h 486"/>
                <a:gd name="T36" fmla="*/ 222 w 434"/>
                <a:gd name="T37" fmla="*/ 270 h 486"/>
                <a:gd name="T38" fmla="*/ 129 w 434"/>
                <a:gd name="T39" fmla="*/ 335 h 486"/>
                <a:gd name="T40" fmla="*/ 129 w 434"/>
                <a:gd name="T41" fmla="*/ 336 h 486"/>
                <a:gd name="T42" fmla="*/ 202 w 434"/>
                <a:gd name="T43" fmla="*/ 394 h 486"/>
                <a:gd name="T44" fmla="*/ 307 w 434"/>
                <a:gd name="T45" fmla="*/ 31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4" h="486">
                  <a:moveTo>
                    <a:pt x="0" y="342"/>
                  </a:moveTo>
                  <a:cubicBezTo>
                    <a:pt x="0" y="340"/>
                    <a:pt x="0" y="340"/>
                    <a:pt x="0" y="340"/>
                  </a:cubicBezTo>
                  <a:cubicBezTo>
                    <a:pt x="0" y="237"/>
                    <a:pt x="78" y="189"/>
                    <a:pt x="190" y="189"/>
                  </a:cubicBezTo>
                  <a:cubicBezTo>
                    <a:pt x="237" y="189"/>
                    <a:pt x="272" y="197"/>
                    <a:pt x="305" y="209"/>
                  </a:cubicBezTo>
                  <a:cubicBezTo>
                    <a:pt x="305" y="201"/>
                    <a:pt x="305" y="201"/>
                    <a:pt x="305" y="201"/>
                  </a:cubicBezTo>
                  <a:cubicBezTo>
                    <a:pt x="305" y="145"/>
                    <a:pt x="271" y="115"/>
                    <a:pt x="204" y="115"/>
                  </a:cubicBezTo>
                  <a:cubicBezTo>
                    <a:pt x="153" y="115"/>
                    <a:pt x="117" y="124"/>
                    <a:pt x="74" y="140"/>
                  </a:cubicBezTo>
                  <a:cubicBezTo>
                    <a:pt x="40" y="38"/>
                    <a:pt x="40" y="38"/>
                    <a:pt x="40" y="38"/>
                  </a:cubicBezTo>
                  <a:cubicBezTo>
                    <a:pt x="92" y="15"/>
                    <a:pt x="143" y="0"/>
                    <a:pt x="223" y="0"/>
                  </a:cubicBezTo>
                  <a:cubicBezTo>
                    <a:pt x="296" y="0"/>
                    <a:pt x="349" y="20"/>
                    <a:pt x="383" y="53"/>
                  </a:cubicBezTo>
                  <a:cubicBezTo>
                    <a:pt x="418" y="88"/>
                    <a:pt x="434" y="140"/>
                    <a:pt x="434" y="204"/>
                  </a:cubicBezTo>
                  <a:cubicBezTo>
                    <a:pt x="434" y="477"/>
                    <a:pt x="434" y="477"/>
                    <a:pt x="434" y="477"/>
                  </a:cubicBezTo>
                  <a:cubicBezTo>
                    <a:pt x="304" y="477"/>
                    <a:pt x="304" y="477"/>
                    <a:pt x="304" y="477"/>
                  </a:cubicBezTo>
                  <a:cubicBezTo>
                    <a:pt x="304" y="426"/>
                    <a:pt x="304" y="426"/>
                    <a:pt x="304" y="426"/>
                  </a:cubicBezTo>
                  <a:cubicBezTo>
                    <a:pt x="272" y="462"/>
                    <a:pt x="227" y="486"/>
                    <a:pt x="162" y="486"/>
                  </a:cubicBezTo>
                  <a:cubicBezTo>
                    <a:pt x="73" y="486"/>
                    <a:pt x="0" y="435"/>
                    <a:pt x="0" y="342"/>
                  </a:cubicBezTo>
                  <a:close/>
                  <a:moveTo>
                    <a:pt x="307" y="311"/>
                  </a:moveTo>
                  <a:cubicBezTo>
                    <a:pt x="307" y="287"/>
                    <a:pt x="307" y="287"/>
                    <a:pt x="307" y="287"/>
                  </a:cubicBezTo>
                  <a:cubicBezTo>
                    <a:pt x="284" y="277"/>
                    <a:pt x="254" y="270"/>
                    <a:pt x="222" y="270"/>
                  </a:cubicBezTo>
                  <a:cubicBezTo>
                    <a:pt x="164" y="270"/>
                    <a:pt x="129" y="292"/>
                    <a:pt x="129" y="335"/>
                  </a:cubicBezTo>
                  <a:cubicBezTo>
                    <a:pt x="129" y="336"/>
                    <a:pt x="129" y="336"/>
                    <a:pt x="129" y="336"/>
                  </a:cubicBezTo>
                  <a:cubicBezTo>
                    <a:pt x="129" y="372"/>
                    <a:pt x="159" y="394"/>
                    <a:pt x="202" y="394"/>
                  </a:cubicBezTo>
                  <a:cubicBezTo>
                    <a:pt x="265" y="394"/>
                    <a:pt x="307" y="359"/>
                    <a:pt x="307"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0" name="Freeform 8">
              <a:extLst>
                <a:ext uri="{FF2B5EF4-FFF2-40B4-BE49-F238E27FC236}">
                  <a16:creationId xmlns:a16="http://schemas.microsoft.com/office/drawing/2014/main" id="{3AEA624F-19C6-31CA-5CD9-7E42ED68DA56}"/>
                </a:ext>
              </a:extLst>
            </p:cNvPr>
            <p:cNvSpPr>
              <a:spLocks/>
            </p:cNvSpPr>
            <p:nvPr userDrawn="1"/>
          </p:nvSpPr>
          <p:spPr bwMode="auto">
            <a:xfrm>
              <a:off x="4859916" y="3170238"/>
              <a:ext cx="1384300" cy="1543050"/>
            </a:xfrm>
            <a:custGeom>
              <a:avLst/>
              <a:gdLst>
                <a:gd name="T0" fmla="*/ 0 w 432"/>
                <a:gd name="T1" fmla="*/ 9 h 480"/>
                <a:gd name="T2" fmla="*/ 133 w 432"/>
                <a:gd name="T3" fmla="*/ 9 h 480"/>
                <a:gd name="T4" fmla="*/ 133 w 432"/>
                <a:gd name="T5" fmla="*/ 75 h 480"/>
                <a:gd name="T6" fmla="*/ 272 w 432"/>
                <a:gd name="T7" fmla="*/ 0 h 480"/>
                <a:gd name="T8" fmla="*/ 432 w 432"/>
                <a:gd name="T9" fmla="*/ 175 h 480"/>
                <a:gd name="T10" fmla="*/ 432 w 432"/>
                <a:gd name="T11" fmla="*/ 480 h 480"/>
                <a:gd name="T12" fmla="*/ 298 w 432"/>
                <a:gd name="T13" fmla="*/ 480 h 480"/>
                <a:gd name="T14" fmla="*/ 298 w 432"/>
                <a:gd name="T15" fmla="*/ 217 h 480"/>
                <a:gd name="T16" fmla="*/ 217 w 432"/>
                <a:gd name="T17" fmla="*/ 121 h 480"/>
                <a:gd name="T18" fmla="*/ 133 w 432"/>
                <a:gd name="T19" fmla="*/ 217 h 480"/>
                <a:gd name="T20" fmla="*/ 133 w 432"/>
                <a:gd name="T21" fmla="*/ 480 h 480"/>
                <a:gd name="T22" fmla="*/ 0 w 432"/>
                <a:gd name="T23" fmla="*/ 480 h 480"/>
                <a:gd name="T24" fmla="*/ 0 w 432"/>
                <a:gd name="T25" fmla="*/ 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480">
                  <a:moveTo>
                    <a:pt x="0" y="9"/>
                  </a:moveTo>
                  <a:cubicBezTo>
                    <a:pt x="133" y="9"/>
                    <a:pt x="133" y="9"/>
                    <a:pt x="133" y="9"/>
                  </a:cubicBezTo>
                  <a:cubicBezTo>
                    <a:pt x="133" y="75"/>
                    <a:pt x="133" y="75"/>
                    <a:pt x="133" y="75"/>
                  </a:cubicBezTo>
                  <a:cubicBezTo>
                    <a:pt x="164" y="36"/>
                    <a:pt x="204" y="0"/>
                    <a:pt x="272" y="0"/>
                  </a:cubicBezTo>
                  <a:cubicBezTo>
                    <a:pt x="373" y="0"/>
                    <a:pt x="432" y="67"/>
                    <a:pt x="432" y="175"/>
                  </a:cubicBezTo>
                  <a:cubicBezTo>
                    <a:pt x="432" y="480"/>
                    <a:pt x="432" y="480"/>
                    <a:pt x="432" y="480"/>
                  </a:cubicBezTo>
                  <a:cubicBezTo>
                    <a:pt x="298" y="480"/>
                    <a:pt x="298" y="480"/>
                    <a:pt x="298" y="480"/>
                  </a:cubicBezTo>
                  <a:cubicBezTo>
                    <a:pt x="298" y="217"/>
                    <a:pt x="298" y="217"/>
                    <a:pt x="298" y="217"/>
                  </a:cubicBezTo>
                  <a:cubicBezTo>
                    <a:pt x="298" y="154"/>
                    <a:pt x="268" y="121"/>
                    <a:pt x="217" y="121"/>
                  </a:cubicBezTo>
                  <a:cubicBezTo>
                    <a:pt x="166" y="121"/>
                    <a:pt x="133" y="154"/>
                    <a:pt x="133" y="217"/>
                  </a:cubicBezTo>
                  <a:cubicBezTo>
                    <a:pt x="133" y="480"/>
                    <a:pt x="133" y="480"/>
                    <a:pt x="133" y="480"/>
                  </a:cubicBezTo>
                  <a:cubicBezTo>
                    <a:pt x="0" y="480"/>
                    <a:pt x="0" y="480"/>
                    <a:pt x="0" y="480"/>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1" name="Freeform 9">
              <a:extLst>
                <a:ext uri="{FF2B5EF4-FFF2-40B4-BE49-F238E27FC236}">
                  <a16:creationId xmlns:a16="http://schemas.microsoft.com/office/drawing/2014/main" id="{ED142D15-3F97-1719-8D74-37D26D1CAA33}"/>
                </a:ext>
              </a:extLst>
            </p:cNvPr>
            <p:cNvSpPr>
              <a:spLocks/>
            </p:cNvSpPr>
            <p:nvPr userDrawn="1"/>
          </p:nvSpPr>
          <p:spPr bwMode="auto">
            <a:xfrm>
              <a:off x="6436593" y="2649538"/>
              <a:ext cx="1460500" cy="2063750"/>
            </a:xfrm>
            <a:custGeom>
              <a:avLst/>
              <a:gdLst>
                <a:gd name="T0" fmla="*/ 0 w 920"/>
                <a:gd name="T1" fmla="*/ 0 h 1300"/>
                <a:gd name="T2" fmla="*/ 270 w 920"/>
                <a:gd name="T3" fmla="*/ 0 h 1300"/>
                <a:gd name="T4" fmla="*/ 270 w 920"/>
                <a:gd name="T5" fmla="*/ 692 h 1300"/>
                <a:gd name="T6" fmla="*/ 585 w 920"/>
                <a:gd name="T7" fmla="*/ 346 h 1300"/>
                <a:gd name="T8" fmla="*/ 908 w 920"/>
                <a:gd name="T9" fmla="*/ 346 h 1300"/>
                <a:gd name="T10" fmla="*/ 547 w 920"/>
                <a:gd name="T11" fmla="*/ 721 h 1300"/>
                <a:gd name="T12" fmla="*/ 920 w 920"/>
                <a:gd name="T13" fmla="*/ 1300 h 1300"/>
                <a:gd name="T14" fmla="*/ 609 w 920"/>
                <a:gd name="T15" fmla="*/ 1300 h 1300"/>
                <a:gd name="T16" fmla="*/ 365 w 920"/>
                <a:gd name="T17" fmla="*/ 909 h 1300"/>
                <a:gd name="T18" fmla="*/ 270 w 920"/>
                <a:gd name="T19" fmla="*/ 1010 h 1300"/>
                <a:gd name="T20" fmla="*/ 270 w 920"/>
                <a:gd name="T21" fmla="*/ 1300 h 1300"/>
                <a:gd name="T22" fmla="*/ 0 w 920"/>
                <a:gd name="T23" fmla="*/ 1300 h 1300"/>
                <a:gd name="T24" fmla="*/ 0 w 920"/>
                <a:gd name="T2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0" h="1300">
                  <a:moveTo>
                    <a:pt x="0" y="0"/>
                  </a:moveTo>
                  <a:lnTo>
                    <a:pt x="270" y="0"/>
                  </a:lnTo>
                  <a:lnTo>
                    <a:pt x="270" y="692"/>
                  </a:lnTo>
                  <a:lnTo>
                    <a:pt x="585" y="346"/>
                  </a:lnTo>
                  <a:lnTo>
                    <a:pt x="908" y="346"/>
                  </a:lnTo>
                  <a:lnTo>
                    <a:pt x="547" y="721"/>
                  </a:lnTo>
                  <a:lnTo>
                    <a:pt x="920" y="1300"/>
                  </a:lnTo>
                  <a:lnTo>
                    <a:pt x="609" y="1300"/>
                  </a:lnTo>
                  <a:lnTo>
                    <a:pt x="365" y="909"/>
                  </a:lnTo>
                  <a:lnTo>
                    <a:pt x="270" y="1010"/>
                  </a:lnTo>
                  <a:lnTo>
                    <a:pt x="270" y="1300"/>
                  </a:lnTo>
                  <a:lnTo>
                    <a:pt x="0" y="13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2" name="Freeform 10">
              <a:extLst>
                <a:ext uri="{FF2B5EF4-FFF2-40B4-BE49-F238E27FC236}">
                  <a16:creationId xmlns:a16="http://schemas.microsoft.com/office/drawing/2014/main" id="{6FEBB0B2-4586-05AB-B4FE-055E54F117A8}"/>
                </a:ext>
              </a:extLst>
            </p:cNvPr>
            <p:cNvSpPr>
              <a:spLocks/>
            </p:cNvSpPr>
            <p:nvPr userDrawn="1"/>
          </p:nvSpPr>
          <p:spPr bwMode="auto">
            <a:xfrm>
              <a:off x="7919896" y="3173413"/>
              <a:ext cx="1227138" cy="1568450"/>
            </a:xfrm>
            <a:custGeom>
              <a:avLst/>
              <a:gdLst>
                <a:gd name="T0" fmla="*/ 0 w 383"/>
                <a:gd name="T1" fmla="*/ 417 h 488"/>
                <a:gd name="T2" fmla="*/ 57 w 383"/>
                <a:gd name="T3" fmla="*/ 329 h 488"/>
                <a:gd name="T4" fmla="*/ 206 w 383"/>
                <a:gd name="T5" fmla="*/ 385 h 488"/>
                <a:gd name="T6" fmla="*/ 262 w 383"/>
                <a:gd name="T7" fmla="*/ 350 h 488"/>
                <a:gd name="T8" fmla="*/ 262 w 383"/>
                <a:gd name="T9" fmla="*/ 348 h 488"/>
                <a:gd name="T10" fmla="*/ 165 w 383"/>
                <a:gd name="T11" fmla="*/ 294 h 488"/>
                <a:gd name="T12" fmla="*/ 24 w 383"/>
                <a:gd name="T13" fmla="*/ 152 h 488"/>
                <a:gd name="T14" fmla="*/ 24 w 383"/>
                <a:gd name="T15" fmla="*/ 150 h 488"/>
                <a:gd name="T16" fmla="*/ 196 w 383"/>
                <a:gd name="T17" fmla="*/ 0 h 488"/>
                <a:gd name="T18" fmla="*/ 372 w 383"/>
                <a:gd name="T19" fmla="*/ 55 h 488"/>
                <a:gd name="T20" fmla="*/ 321 w 383"/>
                <a:gd name="T21" fmla="*/ 147 h 488"/>
                <a:gd name="T22" fmla="*/ 194 w 383"/>
                <a:gd name="T23" fmla="*/ 103 h 488"/>
                <a:gd name="T24" fmla="*/ 144 w 383"/>
                <a:gd name="T25" fmla="*/ 136 h 488"/>
                <a:gd name="T26" fmla="*/ 144 w 383"/>
                <a:gd name="T27" fmla="*/ 138 h 488"/>
                <a:gd name="T28" fmla="*/ 240 w 383"/>
                <a:gd name="T29" fmla="*/ 194 h 488"/>
                <a:gd name="T30" fmla="*/ 383 w 383"/>
                <a:gd name="T31" fmla="*/ 334 h 488"/>
                <a:gd name="T32" fmla="*/ 383 w 383"/>
                <a:gd name="T33" fmla="*/ 336 h 488"/>
                <a:gd name="T34" fmla="*/ 203 w 383"/>
                <a:gd name="T35" fmla="*/ 488 h 488"/>
                <a:gd name="T36" fmla="*/ 0 w 383"/>
                <a:gd name="T37" fmla="*/ 41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3" h="488">
                  <a:moveTo>
                    <a:pt x="0" y="417"/>
                  </a:moveTo>
                  <a:cubicBezTo>
                    <a:pt x="57" y="329"/>
                    <a:pt x="57" y="329"/>
                    <a:pt x="57" y="329"/>
                  </a:cubicBezTo>
                  <a:cubicBezTo>
                    <a:pt x="108" y="366"/>
                    <a:pt x="162" y="385"/>
                    <a:pt x="206" y="385"/>
                  </a:cubicBezTo>
                  <a:cubicBezTo>
                    <a:pt x="245" y="385"/>
                    <a:pt x="262" y="371"/>
                    <a:pt x="262" y="350"/>
                  </a:cubicBezTo>
                  <a:cubicBezTo>
                    <a:pt x="262" y="348"/>
                    <a:pt x="262" y="348"/>
                    <a:pt x="262" y="348"/>
                  </a:cubicBezTo>
                  <a:cubicBezTo>
                    <a:pt x="262" y="319"/>
                    <a:pt x="217" y="309"/>
                    <a:pt x="165" y="294"/>
                  </a:cubicBezTo>
                  <a:cubicBezTo>
                    <a:pt x="99" y="274"/>
                    <a:pt x="24" y="243"/>
                    <a:pt x="24" y="152"/>
                  </a:cubicBezTo>
                  <a:cubicBezTo>
                    <a:pt x="24" y="150"/>
                    <a:pt x="24" y="150"/>
                    <a:pt x="24" y="150"/>
                  </a:cubicBezTo>
                  <a:cubicBezTo>
                    <a:pt x="24" y="54"/>
                    <a:pt x="101" y="0"/>
                    <a:pt x="196" y="0"/>
                  </a:cubicBezTo>
                  <a:cubicBezTo>
                    <a:pt x="256" y="0"/>
                    <a:pt x="321" y="21"/>
                    <a:pt x="372" y="55"/>
                  </a:cubicBezTo>
                  <a:cubicBezTo>
                    <a:pt x="321" y="147"/>
                    <a:pt x="321" y="147"/>
                    <a:pt x="321" y="147"/>
                  </a:cubicBezTo>
                  <a:cubicBezTo>
                    <a:pt x="275" y="120"/>
                    <a:pt x="228" y="103"/>
                    <a:pt x="194" y="103"/>
                  </a:cubicBezTo>
                  <a:cubicBezTo>
                    <a:pt x="161" y="103"/>
                    <a:pt x="144" y="118"/>
                    <a:pt x="144" y="136"/>
                  </a:cubicBezTo>
                  <a:cubicBezTo>
                    <a:pt x="144" y="138"/>
                    <a:pt x="144" y="138"/>
                    <a:pt x="144" y="138"/>
                  </a:cubicBezTo>
                  <a:cubicBezTo>
                    <a:pt x="144" y="164"/>
                    <a:pt x="189" y="176"/>
                    <a:pt x="240" y="194"/>
                  </a:cubicBezTo>
                  <a:cubicBezTo>
                    <a:pt x="306" y="216"/>
                    <a:pt x="383" y="248"/>
                    <a:pt x="383" y="334"/>
                  </a:cubicBezTo>
                  <a:cubicBezTo>
                    <a:pt x="383" y="336"/>
                    <a:pt x="383" y="336"/>
                    <a:pt x="383" y="336"/>
                  </a:cubicBezTo>
                  <a:cubicBezTo>
                    <a:pt x="383" y="440"/>
                    <a:pt x="305" y="488"/>
                    <a:pt x="203" y="488"/>
                  </a:cubicBezTo>
                  <a:cubicBezTo>
                    <a:pt x="137" y="488"/>
                    <a:pt x="63" y="466"/>
                    <a:pt x="0"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3" name="Oval 11">
              <a:extLst>
                <a:ext uri="{FF2B5EF4-FFF2-40B4-BE49-F238E27FC236}">
                  <a16:creationId xmlns:a16="http://schemas.microsoft.com/office/drawing/2014/main" id="{70877F96-1F23-E1FC-71E9-01EE358F60FD}"/>
                </a:ext>
              </a:extLst>
            </p:cNvPr>
            <p:cNvSpPr>
              <a:spLocks noChangeArrowheads="1"/>
            </p:cNvSpPr>
            <p:nvPr userDrawn="1"/>
          </p:nvSpPr>
          <p:spPr bwMode="auto">
            <a:xfrm>
              <a:off x="9282260" y="4167188"/>
              <a:ext cx="544513" cy="546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 name="Group 1">
            <a:extLst>
              <a:ext uri="{FF2B5EF4-FFF2-40B4-BE49-F238E27FC236}">
                <a16:creationId xmlns:a16="http://schemas.microsoft.com/office/drawing/2014/main" id="{59C8C1D9-B375-1D63-409C-0E8AA8DEE2D1}"/>
              </a:ext>
            </a:extLst>
          </p:cNvPr>
          <p:cNvGrpSpPr/>
          <p:nvPr userDrawn="1"/>
        </p:nvGrpSpPr>
        <p:grpSpPr>
          <a:xfrm>
            <a:off x="9392771" y="767096"/>
            <a:ext cx="2800816" cy="1898696"/>
            <a:chOff x="9390324" y="767096"/>
            <a:chExt cx="2800087" cy="1898696"/>
          </a:xfrm>
        </p:grpSpPr>
        <p:grpSp>
          <p:nvGrpSpPr>
            <p:cNvPr id="76" name="Group 75">
              <a:extLst>
                <a:ext uri="{FF2B5EF4-FFF2-40B4-BE49-F238E27FC236}">
                  <a16:creationId xmlns:a16="http://schemas.microsoft.com/office/drawing/2014/main" id="{04DB0252-2F51-9D54-5F87-47E8112037C5}"/>
                </a:ext>
              </a:extLst>
            </p:cNvPr>
            <p:cNvGrpSpPr/>
            <p:nvPr userDrawn="1"/>
          </p:nvGrpSpPr>
          <p:grpSpPr>
            <a:xfrm>
              <a:off x="9390324" y="936748"/>
              <a:ext cx="1965963" cy="1042086"/>
              <a:chOff x="4988072" y="501936"/>
              <a:chExt cx="1978802" cy="1051017"/>
            </a:xfrm>
            <a:solidFill>
              <a:schemeClr val="bg1"/>
            </a:solidFill>
          </p:grpSpPr>
          <p:sp>
            <p:nvSpPr>
              <p:cNvPr id="85" name="Freeform 5">
                <a:extLst>
                  <a:ext uri="{FF2B5EF4-FFF2-40B4-BE49-F238E27FC236}">
                    <a16:creationId xmlns:a16="http://schemas.microsoft.com/office/drawing/2014/main" id="{433FD598-576F-FFF0-672B-6A9B1AF51242}"/>
                  </a:ext>
                </a:extLst>
              </p:cNvPr>
              <p:cNvSpPr>
                <a:spLocks/>
              </p:cNvSpPr>
              <p:nvPr userDrawn="1"/>
            </p:nvSpPr>
            <p:spPr bwMode="auto">
              <a:xfrm>
                <a:off x="5559016" y="501936"/>
                <a:ext cx="218094" cy="282813"/>
              </a:xfrm>
              <a:custGeom>
                <a:avLst/>
                <a:gdLst>
                  <a:gd name="T0" fmla="*/ 0 w 502"/>
                  <a:gd name="T1" fmla="*/ 550 h 651"/>
                  <a:gd name="T2" fmla="*/ 83 w 502"/>
                  <a:gd name="T3" fmla="*/ 451 h 651"/>
                  <a:gd name="T4" fmla="*/ 272 w 502"/>
                  <a:gd name="T5" fmla="*/ 528 h 651"/>
                  <a:gd name="T6" fmla="*/ 363 w 502"/>
                  <a:gd name="T7" fmla="*/ 469 h 651"/>
                  <a:gd name="T8" fmla="*/ 363 w 502"/>
                  <a:gd name="T9" fmla="*/ 467 h 651"/>
                  <a:gd name="T10" fmla="*/ 236 w 502"/>
                  <a:gd name="T11" fmla="*/ 386 h 651"/>
                  <a:gd name="T12" fmla="*/ 26 w 502"/>
                  <a:gd name="T13" fmla="*/ 192 h 651"/>
                  <a:gd name="T14" fmla="*/ 26 w 502"/>
                  <a:gd name="T15" fmla="*/ 191 h 651"/>
                  <a:gd name="T16" fmla="*/ 247 w 502"/>
                  <a:gd name="T17" fmla="*/ 0 h 651"/>
                  <a:gd name="T18" fmla="*/ 483 w 502"/>
                  <a:gd name="T19" fmla="*/ 80 h 651"/>
                  <a:gd name="T20" fmla="*/ 410 w 502"/>
                  <a:gd name="T21" fmla="*/ 185 h 651"/>
                  <a:gd name="T22" fmla="*/ 246 w 502"/>
                  <a:gd name="T23" fmla="*/ 123 h 651"/>
                  <a:gd name="T24" fmla="*/ 164 w 502"/>
                  <a:gd name="T25" fmla="*/ 178 h 651"/>
                  <a:gd name="T26" fmla="*/ 164 w 502"/>
                  <a:gd name="T27" fmla="*/ 180 h 651"/>
                  <a:gd name="T28" fmla="*/ 301 w 502"/>
                  <a:gd name="T29" fmla="*/ 263 h 651"/>
                  <a:gd name="T30" fmla="*/ 502 w 502"/>
                  <a:gd name="T31" fmla="*/ 453 h 651"/>
                  <a:gd name="T32" fmla="*/ 502 w 502"/>
                  <a:gd name="T33" fmla="*/ 455 h 651"/>
                  <a:gd name="T34" fmla="*/ 269 w 502"/>
                  <a:gd name="T35" fmla="*/ 651 h 651"/>
                  <a:gd name="T36" fmla="*/ 0 w 502"/>
                  <a:gd name="T37" fmla="*/ 5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651">
                    <a:moveTo>
                      <a:pt x="0" y="550"/>
                    </a:moveTo>
                    <a:cubicBezTo>
                      <a:pt x="83" y="451"/>
                      <a:pt x="83" y="451"/>
                      <a:pt x="83" y="451"/>
                    </a:cubicBezTo>
                    <a:cubicBezTo>
                      <a:pt x="140" y="498"/>
                      <a:pt x="200" y="528"/>
                      <a:pt x="272" y="528"/>
                    </a:cubicBezTo>
                    <a:cubicBezTo>
                      <a:pt x="329" y="528"/>
                      <a:pt x="363" y="506"/>
                      <a:pt x="363" y="469"/>
                    </a:cubicBezTo>
                    <a:cubicBezTo>
                      <a:pt x="363" y="467"/>
                      <a:pt x="363" y="467"/>
                      <a:pt x="363" y="467"/>
                    </a:cubicBezTo>
                    <a:cubicBezTo>
                      <a:pt x="363" y="431"/>
                      <a:pt x="342" y="413"/>
                      <a:pt x="236" y="386"/>
                    </a:cubicBezTo>
                    <a:cubicBezTo>
                      <a:pt x="108" y="354"/>
                      <a:pt x="26" y="318"/>
                      <a:pt x="26" y="192"/>
                    </a:cubicBezTo>
                    <a:cubicBezTo>
                      <a:pt x="26" y="191"/>
                      <a:pt x="26" y="191"/>
                      <a:pt x="26" y="191"/>
                    </a:cubicBezTo>
                    <a:cubicBezTo>
                      <a:pt x="26" y="76"/>
                      <a:pt x="118" y="0"/>
                      <a:pt x="247" y="0"/>
                    </a:cubicBezTo>
                    <a:cubicBezTo>
                      <a:pt x="340" y="0"/>
                      <a:pt x="419" y="29"/>
                      <a:pt x="483" y="80"/>
                    </a:cubicBezTo>
                    <a:cubicBezTo>
                      <a:pt x="410" y="185"/>
                      <a:pt x="410" y="185"/>
                      <a:pt x="410" y="185"/>
                    </a:cubicBezTo>
                    <a:cubicBezTo>
                      <a:pt x="354" y="146"/>
                      <a:pt x="299" y="123"/>
                      <a:pt x="246" y="123"/>
                    </a:cubicBezTo>
                    <a:cubicBezTo>
                      <a:pt x="192" y="123"/>
                      <a:pt x="164" y="147"/>
                      <a:pt x="164" y="178"/>
                    </a:cubicBezTo>
                    <a:cubicBezTo>
                      <a:pt x="164" y="180"/>
                      <a:pt x="164" y="180"/>
                      <a:pt x="164" y="180"/>
                    </a:cubicBezTo>
                    <a:cubicBezTo>
                      <a:pt x="164" y="221"/>
                      <a:pt x="191" y="235"/>
                      <a:pt x="301" y="263"/>
                    </a:cubicBezTo>
                    <a:cubicBezTo>
                      <a:pt x="429" y="297"/>
                      <a:pt x="502" y="343"/>
                      <a:pt x="502" y="453"/>
                    </a:cubicBezTo>
                    <a:cubicBezTo>
                      <a:pt x="502" y="455"/>
                      <a:pt x="502" y="455"/>
                      <a:pt x="502" y="455"/>
                    </a:cubicBezTo>
                    <a:cubicBezTo>
                      <a:pt x="502" y="581"/>
                      <a:pt x="406" y="651"/>
                      <a:pt x="269" y="651"/>
                    </a:cubicBezTo>
                    <a:cubicBezTo>
                      <a:pt x="173" y="651"/>
                      <a:pt x="76" y="618"/>
                      <a:pt x="0"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
                <a:extLst>
                  <a:ext uri="{FF2B5EF4-FFF2-40B4-BE49-F238E27FC236}">
                    <a16:creationId xmlns:a16="http://schemas.microsoft.com/office/drawing/2014/main" id="{824AAD10-C96C-2D4A-15C2-1D354C7C691E}"/>
                  </a:ext>
                </a:extLst>
              </p:cNvPr>
              <p:cNvSpPr>
                <a:spLocks/>
              </p:cNvSpPr>
              <p:nvPr userDrawn="1"/>
            </p:nvSpPr>
            <p:spPr bwMode="auto">
              <a:xfrm>
                <a:off x="5791295" y="566212"/>
                <a:ext cx="322264" cy="214547"/>
              </a:xfrm>
              <a:custGeom>
                <a:avLst/>
                <a:gdLst>
                  <a:gd name="T0" fmla="*/ 0 w 741"/>
                  <a:gd name="T1" fmla="*/ 9 h 494"/>
                  <a:gd name="T2" fmla="*/ 138 w 741"/>
                  <a:gd name="T3" fmla="*/ 9 h 494"/>
                  <a:gd name="T4" fmla="*/ 138 w 741"/>
                  <a:gd name="T5" fmla="*/ 78 h 494"/>
                  <a:gd name="T6" fmla="*/ 281 w 741"/>
                  <a:gd name="T7" fmla="*/ 0 h 494"/>
                  <a:gd name="T8" fmla="*/ 418 w 741"/>
                  <a:gd name="T9" fmla="*/ 77 h 494"/>
                  <a:gd name="T10" fmla="*/ 577 w 741"/>
                  <a:gd name="T11" fmla="*/ 0 h 494"/>
                  <a:gd name="T12" fmla="*/ 741 w 741"/>
                  <a:gd name="T13" fmla="*/ 178 h 494"/>
                  <a:gd name="T14" fmla="*/ 741 w 741"/>
                  <a:gd name="T15" fmla="*/ 494 h 494"/>
                  <a:gd name="T16" fmla="*/ 603 w 741"/>
                  <a:gd name="T17" fmla="*/ 494 h 494"/>
                  <a:gd name="T18" fmla="*/ 603 w 741"/>
                  <a:gd name="T19" fmla="*/ 224 h 494"/>
                  <a:gd name="T20" fmla="*/ 523 w 741"/>
                  <a:gd name="T21" fmla="*/ 125 h 494"/>
                  <a:gd name="T22" fmla="*/ 439 w 741"/>
                  <a:gd name="T23" fmla="*/ 224 h 494"/>
                  <a:gd name="T24" fmla="*/ 439 w 741"/>
                  <a:gd name="T25" fmla="*/ 494 h 494"/>
                  <a:gd name="T26" fmla="*/ 302 w 741"/>
                  <a:gd name="T27" fmla="*/ 494 h 494"/>
                  <a:gd name="T28" fmla="*/ 302 w 741"/>
                  <a:gd name="T29" fmla="*/ 224 h 494"/>
                  <a:gd name="T30" fmla="*/ 221 w 741"/>
                  <a:gd name="T31" fmla="*/ 125 h 494"/>
                  <a:gd name="T32" fmla="*/ 138 w 741"/>
                  <a:gd name="T33" fmla="*/ 224 h 494"/>
                  <a:gd name="T34" fmla="*/ 138 w 741"/>
                  <a:gd name="T35" fmla="*/ 494 h 494"/>
                  <a:gd name="T36" fmla="*/ 0 w 741"/>
                  <a:gd name="T37" fmla="*/ 494 h 494"/>
                  <a:gd name="T38" fmla="*/ 0 w 741"/>
                  <a:gd name="T39"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1" h="494">
                    <a:moveTo>
                      <a:pt x="0" y="9"/>
                    </a:moveTo>
                    <a:cubicBezTo>
                      <a:pt x="138" y="9"/>
                      <a:pt x="138" y="9"/>
                      <a:pt x="138" y="9"/>
                    </a:cubicBezTo>
                    <a:cubicBezTo>
                      <a:pt x="138" y="78"/>
                      <a:pt x="138" y="78"/>
                      <a:pt x="138" y="78"/>
                    </a:cubicBezTo>
                    <a:cubicBezTo>
                      <a:pt x="170" y="37"/>
                      <a:pt x="211" y="0"/>
                      <a:pt x="281" y="0"/>
                    </a:cubicBezTo>
                    <a:cubicBezTo>
                      <a:pt x="344" y="0"/>
                      <a:pt x="392" y="28"/>
                      <a:pt x="418" y="77"/>
                    </a:cubicBezTo>
                    <a:cubicBezTo>
                      <a:pt x="460" y="27"/>
                      <a:pt x="511" y="0"/>
                      <a:pt x="577" y="0"/>
                    </a:cubicBezTo>
                    <a:cubicBezTo>
                      <a:pt x="679" y="0"/>
                      <a:pt x="741" y="62"/>
                      <a:pt x="741" y="178"/>
                    </a:cubicBezTo>
                    <a:cubicBezTo>
                      <a:pt x="741" y="494"/>
                      <a:pt x="741" y="494"/>
                      <a:pt x="741" y="494"/>
                    </a:cubicBezTo>
                    <a:cubicBezTo>
                      <a:pt x="603" y="494"/>
                      <a:pt x="603" y="494"/>
                      <a:pt x="603" y="494"/>
                    </a:cubicBezTo>
                    <a:cubicBezTo>
                      <a:pt x="603" y="224"/>
                      <a:pt x="603" y="224"/>
                      <a:pt x="603" y="224"/>
                    </a:cubicBezTo>
                    <a:cubicBezTo>
                      <a:pt x="603" y="159"/>
                      <a:pt x="574" y="125"/>
                      <a:pt x="523" y="125"/>
                    </a:cubicBezTo>
                    <a:cubicBezTo>
                      <a:pt x="471" y="125"/>
                      <a:pt x="439" y="159"/>
                      <a:pt x="439" y="224"/>
                    </a:cubicBezTo>
                    <a:cubicBezTo>
                      <a:pt x="439" y="494"/>
                      <a:pt x="439" y="494"/>
                      <a:pt x="439" y="494"/>
                    </a:cubicBezTo>
                    <a:cubicBezTo>
                      <a:pt x="302" y="494"/>
                      <a:pt x="302" y="494"/>
                      <a:pt x="302" y="494"/>
                    </a:cubicBezTo>
                    <a:cubicBezTo>
                      <a:pt x="302" y="224"/>
                      <a:pt x="302" y="224"/>
                      <a:pt x="302" y="224"/>
                    </a:cubicBezTo>
                    <a:cubicBezTo>
                      <a:pt x="302" y="159"/>
                      <a:pt x="273" y="125"/>
                      <a:pt x="221" y="125"/>
                    </a:cubicBezTo>
                    <a:cubicBezTo>
                      <a:pt x="170" y="125"/>
                      <a:pt x="138" y="159"/>
                      <a:pt x="138" y="224"/>
                    </a:cubicBezTo>
                    <a:cubicBezTo>
                      <a:pt x="138" y="494"/>
                      <a:pt x="138" y="494"/>
                      <a:pt x="138"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7">
                <a:extLst>
                  <a:ext uri="{FF2B5EF4-FFF2-40B4-BE49-F238E27FC236}">
                    <a16:creationId xmlns:a16="http://schemas.microsoft.com/office/drawing/2014/main" id="{8776387C-7DBE-0FBD-3AED-689433E76864}"/>
                  </a:ext>
                </a:extLst>
              </p:cNvPr>
              <p:cNvSpPr>
                <a:spLocks noEditPoints="1"/>
              </p:cNvSpPr>
              <p:nvPr userDrawn="1"/>
            </p:nvSpPr>
            <p:spPr bwMode="auto">
              <a:xfrm>
                <a:off x="6125971" y="567985"/>
                <a:ext cx="193713" cy="216764"/>
              </a:xfrm>
              <a:custGeom>
                <a:avLst/>
                <a:gdLst>
                  <a:gd name="T0" fmla="*/ 0 w 446"/>
                  <a:gd name="T1" fmla="*/ 351 h 499"/>
                  <a:gd name="T2" fmla="*/ 0 w 446"/>
                  <a:gd name="T3" fmla="*/ 349 h 499"/>
                  <a:gd name="T4" fmla="*/ 195 w 446"/>
                  <a:gd name="T5" fmla="*/ 194 h 499"/>
                  <a:gd name="T6" fmla="*/ 314 w 446"/>
                  <a:gd name="T7" fmla="*/ 214 h 499"/>
                  <a:gd name="T8" fmla="*/ 314 w 446"/>
                  <a:gd name="T9" fmla="*/ 206 h 499"/>
                  <a:gd name="T10" fmla="*/ 210 w 446"/>
                  <a:gd name="T11" fmla="*/ 117 h 499"/>
                  <a:gd name="T12" fmla="*/ 76 w 446"/>
                  <a:gd name="T13" fmla="*/ 144 h 499"/>
                  <a:gd name="T14" fmla="*/ 42 w 446"/>
                  <a:gd name="T15" fmla="*/ 39 h 499"/>
                  <a:gd name="T16" fmla="*/ 230 w 446"/>
                  <a:gd name="T17" fmla="*/ 0 h 499"/>
                  <a:gd name="T18" fmla="*/ 394 w 446"/>
                  <a:gd name="T19" fmla="*/ 54 h 499"/>
                  <a:gd name="T20" fmla="*/ 446 w 446"/>
                  <a:gd name="T21" fmla="*/ 209 h 499"/>
                  <a:gd name="T22" fmla="*/ 446 w 446"/>
                  <a:gd name="T23" fmla="*/ 490 h 499"/>
                  <a:gd name="T24" fmla="*/ 313 w 446"/>
                  <a:gd name="T25" fmla="*/ 490 h 499"/>
                  <a:gd name="T26" fmla="*/ 313 w 446"/>
                  <a:gd name="T27" fmla="*/ 438 h 499"/>
                  <a:gd name="T28" fmla="*/ 166 w 446"/>
                  <a:gd name="T29" fmla="*/ 499 h 499"/>
                  <a:gd name="T30" fmla="*/ 0 w 446"/>
                  <a:gd name="T31" fmla="*/ 351 h 499"/>
                  <a:gd name="T32" fmla="*/ 316 w 446"/>
                  <a:gd name="T33" fmla="*/ 319 h 499"/>
                  <a:gd name="T34" fmla="*/ 316 w 446"/>
                  <a:gd name="T35" fmla="*/ 295 h 499"/>
                  <a:gd name="T36" fmla="*/ 228 w 446"/>
                  <a:gd name="T37" fmla="*/ 277 h 499"/>
                  <a:gd name="T38" fmla="*/ 133 w 446"/>
                  <a:gd name="T39" fmla="*/ 344 h 499"/>
                  <a:gd name="T40" fmla="*/ 133 w 446"/>
                  <a:gd name="T41" fmla="*/ 346 h 499"/>
                  <a:gd name="T42" fmla="*/ 208 w 446"/>
                  <a:gd name="T43" fmla="*/ 404 h 499"/>
                  <a:gd name="T44" fmla="*/ 316 w 446"/>
                  <a:gd name="T45" fmla="*/ 31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499">
                    <a:moveTo>
                      <a:pt x="0" y="351"/>
                    </a:moveTo>
                    <a:cubicBezTo>
                      <a:pt x="0" y="349"/>
                      <a:pt x="0" y="349"/>
                      <a:pt x="0" y="349"/>
                    </a:cubicBezTo>
                    <a:cubicBezTo>
                      <a:pt x="0" y="243"/>
                      <a:pt x="80" y="194"/>
                      <a:pt x="195" y="194"/>
                    </a:cubicBezTo>
                    <a:cubicBezTo>
                      <a:pt x="244" y="194"/>
                      <a:pt x="280" y="202"/>
                      <a:pt x="314" y="214"/>
                    </a:cubicBezTo>
                    <a:cubicBezTo>
                      <a:pt x="314" y="206"/>
                      <a:pt x="314" y="206"/>
                      <a:pt x="314" y="206"/>
                    </a:cubicBezTo>
                    <a:cubicBezTo>
                      <a:pt x="314" y="149"/>
                      <a:pt x="279" y="117"/>
                      <a:pt x="210" y="117"/>
                    </a:cubicBezTo>
                    <a:cubicBezTo>
                      <a:pt x="157" y="117"/>
                      <a:pt x="120" y="127"/>
                      <a:pt x="76" y="144"/>
                    </a:cubicBezTo>
                    <a:cubicBezTo>
                      <a:pt x="42" y="39"/>
                      <a:pt x="42" y="39"/>
                      <a:pt x="42" y="39"/>
                    </a:cubicBezTo>
                    <a:cubicBezTo>
                      <a:pt x="95" y="15"/>
                      <a:pt x="147" y="0"/>
                      <a:pt x="230" y="0"/>
                    </a:cubicBezTo>
                    <a:cubicBezTo>
                      <a:pt x="305" y="0"/>
                      <a:pt x="359" y="20"/>
                      <a:pt x="394" y="54"/>
                    </a:cubicBezTo>
                    <a:cubicBezTo>
                      <a:pt x="430" y="90"/>
                      <a:pt x="446" y="144"/>
                      <a:pt x="446" y="209"/>
                    </a:cubicBezTo>
                    <a:cubicBezTo>
                      <a:pt x="446" y="490"/>
                      <a:pt x="446" y="490"/>
                      <a:pt x="446" y="490"/>
                    </a:cubicBezTo>
                    <a:cubicBezTo>
                      <a:pt x="313" y="490"/>
                      <a:pt x="313" y="490"/>
                      <a:pt x="313" y="490"/>
                    </a:cubicBezTo>
                    <a:cubicBezTo>
                      <a:pt x="313" y="438"/>
                      <a:pt x="313" y="438"/>
                      <a:pt x="313" y="438"/>
                    </a:cubicBezTo>
                    <a:cubicBezTo>
                      <a:pt x="280" y="475"/>
                      <a:pt x="233" y="499"/>
                      <a:pt x="166" y="499"/>
                    </a:cubicBezTo>
                    <a:cubicBezTo>
                      <a:pt x="75" y="499"/>
                      <a:pt x="0" y="447"/>
                      <a:pt x="0" y="351"/>
                    </a:cubicBezTo>
                    <a:close/>
                    <a:moveTo>
                      <a:pt x="316" y="319"/>
                    </a:moveTo>
                    <a:cubicBezTo>
                      <a:pt x="316" y="295"/>
                      <a:pt x="316" y="295"/>
                      <a:pt x="316" y="295"/>
                    </a:cubicBezTo>
                    <a:cubicBezTo>
                      <a:pt x="292" y="284"/>
                      <a:pt x="262" y="277"/>
                      <a:pt x="228" y="277"/>
                    </a:cubicBezTo>
                    <a:cubicBezTo>
                      <a:pt x="169" y="277"/>
                      <a:pt x="133" y="300"/>
                      <a:pt x="133" y="344"/>
                    </a:cubicBezTo>
                    <a:cubicBezTo>
                      <a:pt x="133" y="346"/>
                      <a:pt x="133" y="346"/>
                      <a:pt x="133" y="346"/>
                    </a:cubicBezTo>
                    <a:cubicBezTo>
                      <a:pt x="133" y="383"/>
                      <a:pt x="164" y="404"/>
                      <a:pt x="208" y="404"/>
                    </a:cubicBezTo>
                    <a:cubicBezTo>
                      <a:pt x="272" y="404"/>
                      <a:pt x="316" y="369"/>
                      <a:pt x="31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8">
                <a:extLst>
                  <a:ext uri="{FF2B5EF4-FFF2-40B4-BE49-F238E27FC236}">
                    <a16:creationId xmlns:a16="http://schemas.microsoft.com/office/drawing/2014/main" id="{262E0FEC-2981-11B0-3D88-8A94D08178CF}"/>
                  </a:ext>
                </a:extLst>
              </p:cNvPr>
              <p:cNvSpPr>
                <a:spLocks/>
              </p:cNvSpPr>
              <p:nvPr userDrawn="1"/>
            </p:nvSpPr>
            <p:spPr bwMode="auto">
              <a:xfrm>
                <a:off x="6336529" y="564438"/>
                <a:ext cx="127665"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9">
                <a:extLst>
                  <a:ext uri="{FF2B5EF4-FFF2-40B4-BE49-F238E27FC236}">
                    <a16:creationId xmlns:a16="http://schemas.microsoft.com/office/drawing/2014/main" id="{FECC1288-545E-BDB4-6462-3EE5544D7025}"/>
                  </a:ext>
                </a:extLst>
              </p:cNvPr>
              <p:cNvSpPr>
                <a:spLocks/>
              </p:cNvSpPr>
              <p:nvPr userDrawn="1"/>
            </p:nvSpPr>
            <p:spPr bwMode="auto">
              <a:xfrm>
                <a:off x="6475719" y="516121"/>
                <a:ext cx="134757" cy="268184"/>
              </a:xfrm>
              <a:custGeom>
                <a:avLst/>
                <a:gdLst>
                  <a:gd name="T0" fmla="*/ 58 w 310"/>
                  <a:gd name="T1" fmla="*/ 472 h 617"/>
                  <a:gd name="T2" fmla="*/ 58 w 310"/>
                  <a:gd name="T3" fmla="*/ 242 h 617"/>
                  <a:gd name="T4" fmla="*/ 0 w 310"/>
                  <a:gd name="T5" fmla="*/ 242 h 617"/>
                  <a:gd name="T6" fmla="*/ 0 w 310"/>
                  <a:gd name="T7" fmla="*/ 124 h 617"/>
                  <a:gd name="T8" fmla="*/ 58 w 310"/>
                  <a:gd name="T9" fmla="*/ 124 h 617"/>
                  <a:gd name="T10" fmla="*/ 58 w 310"/>
                  <a:gd name="T11" fmla="*/ 0 h 617"/>
                  <a:gd name="T12" fmla="*/ 196 w 310"/>
                  <a:gd name="T13" fmla="*/ 0 h 617"/>
                  <a:gd name="T14" fmla="*/ 196 w 310"/>
                  <a:gd name="T15" fmla="*/ 124 h 617"/>
                  <a:gd name="T16" fmla="*/ 310 w 310"/>
                  <a:gd name="T17" fmla="*/ 124 h 617"/>
                  <a:gd name="T18" fmla="*/ 310 w 310"/>
                  <a:gd name="T19" fmla="*/ 242 h 617"/>
                  <a:gd name="T20" fmla="*/ 196 w 310"/>
                  <a:gd name="T21" fmla="*/ 242 h 617"/>
                  <a:gd name="T22" fmla="*/ 196 w 310"/>
                  <a:gd name="T23" fmla="*/ 449 h 617"/>
                  <a:gd name="T24" fmla="*/ 240 w 310"/>
                  <a:gd name="T25" fmla="*/ 496 h 617"/>
                  <a:gd name="T26" fmla="*/ 308 w 310"/>
                  <a:gd name="T27" fmla="*/ 479 h 617"/>
                  <a:gd name="T28" fmla="*/ 308 w 310"/>
                  <a:gd name="T29" fmla="*/ 589 h 617"/>
                  <a:gd name="T30" fmla="*/ 199 w 310"/>
                  <a:gd name="T31" fmla="*/ 617 h 617"/>
                  <a:gd name="T32" fmla="*/ 58 w 310"/>
                  <a:gd name="T33" fmla="*/ 4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7">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6" y="0"/>
                      <a:pt x="196" y="0"/>
                      <a:pt x="196" y="0"/>
                    </a:cubicBezTo>
                    <a:cubicBezTo>
                      <a:pt x="196" y="124"/>
                      <a:pt x="196" y="124"/>
                      <a:pt x="196" y="124"/>
                    </a:cubicBezTo>
                    <a:cubicBezTo>
                      <a:pt x="310" y="124"/>
                      <a:pt x="310" y="124"/>
                      <a:pt x="310" y="124"/>
                    </a:cubicBezTo>
                    <a:cubicBezTo>
                      <a:pt x="310" y="242"/>
                      <a:pt x="310" y="242"/>
                      <a:pt x="310" y="242"/>
                    </a:cubicBezTo>
                    <a:cubicBezTo>
                      <a:pt x="196" y="242"/>
                      <a:pt x="196" y="242"/>
                      <a:pt x="196" y="242"/>
                    </a:cubicBezTo>
                    <a:cubicBezTo>
                      <a:pt x="196" y="449"/>
                      <a:pt x="196" y="449"/>
                      <a:pt x="196" y="449"/>
                    </a:cubicBezTo>
                    <a:cubicBezTo>
                      <a:pt x="196" y="481"/>
                      <a:pt x="209" y="496"/>
                      <a:pt x="240" y="496"/>
                    </a:cubicBezTo>
                    <a:cubicBezTo>
                      <a:pt x="265" y="496"/>
                      <a:pt x="288" y="490"/>
                      <a:pt x="308" y="479"/>
                    </a:cubicBezTo>
                    <a:cubicBezTo>
                      <a:pt x="308" y="589"/>
                      <a:pt x="308" y="589"/>
                      <a:pt x="308" y="589"/>
                    </a:cubicBezTo>
                    <a:cubicBezTo>
                      <a:pt x="279" y="607"/>
                      <a:pt x="245" y="617"/>
                      <a:pt x="199" y="617"/>
                    </a:cubicBezTo>
                    <a:cubicBezTo>
                      <a:pt x="115" y="617"/>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10">
                <a:extLst>
                  <a:ext uri="{FF2B5EF4-FFF2-40B4-BE49-F238E27FC236}">
                    <a16:creationId xmlns:a16="http://schemas.microsoft.com/office/drawing/2014/main" id="{9DB49BE1-F1C8-5A4F-1BE7-B9C5B671A4B9}"/>
                  </a:ext>
                </a:extLst>
              </p:cNvPr>
              <p:cNvSpPr>
                <a:spLocks noEditPoints="1"/>
              </p:cNvSpPr>
              <p:nvPr userDrawn="1"/>
            </p:nvSpPr>
            <p:spPr bwMode="auto">
              <a:xfrm>
                <a:off x="6618455" y="566212"/>
                <a:ext cx="207012" cy="219424"/>
              </a:xfrm>
              <a:custGeom>
                <a:avLst/>
                <a:gdLst>
                  <a:gd name="T0" fmla="*/ 0 w 476"/>
                  <a:gd name="T1" fmla="*/ 254 h 505"/>
                  <a:gd name="T2" fmla="*/ 0 w 476"/>
                  <a:gd name="T3" fmla="*/ 253 h 505"/>
                  <a:gd name="T4" fmla="*/ 240 w 476"/>
                  <a:gd name="T5" fmla="*/ 0 h 505"/>
                  <a:gd name="T6" fmla="*/ 476 w 476"/>
                  <a:gd name="T7" fmla="*/ 263 h 505"/>
                  <a:gd name="T8" fmla="*/ 475 w 476"/>
                  <a:gd name="T9" fmla="*/ 300 h 505"/>
                  <a:gd name="T10" fmla="*/ 137 w 476"/>
                  <a:gd name="T11" fmla="*/ 300 h 505"/>
                  <a:gd name="T12" fmla="*/ 256 w 476"/>
                  <a:gd name="T13" fmla="*/ 395 h 505"/>
                  <a:gd name="T14" fmla="*/ 373 w 476"/>
                  <a:gd name="T15" fmla="*/ 345 h 505"/>
                  <a:gd name="T16" fmla="*/ 452 w 476"/>
                  <a:gd name="T17" fmla="*/ 415 h 505"/>
                  <a:gd name="T18" fmla="*/ 254 w 476"/>
                  <a:gd name="T19" fmla="*/ 505 h 505"/>
                  <a:gd name="T20" fmla="*/ 0 w 476"/>
                  <a:gd name="T21" fmla="*/ 254 h 505"/>
                  <a:gd name="T22" fmla="*/ 342 w 476"/>
                  <a:gd name="T23" fmla="*/ 214 h 505"/>
                  <a:gd name="T24" fmla="*/ 240 w 476"/>
                  <a:gd name="T25" fmla="*/ 111 h 505"/>
                  <a:gd name="T26" fmla="*/ 135 w 476"/>
                  <a:gd name="T27" fmla="*/ 214 h 505"/>
                  <a:gd name="T28" fmla="*/ 342 w 476"/>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05">
                    <a:moveTo>
                      <a:pt x="0" y="254"/>
                    </a:moveTo>
                    <a:cubicBezTo>
                      <a:pt x="0" y="253"/>
                      <a:pt x="0" y="253"/>
                      <a:pt x="0" y="253"/>
                    </a:cubicBezTo>
                    <a:cubicBezTo>
                      <a:pt x="0" y="114"/>
                      <a:pt x="99" y="0"/>
                      <a:pt x="240" y="0"/>
                    </a:cubicBezTo>
                    <a:cubicBezTo>
                      <a:pt x="402" y="0"/>
                      <a:pt x="476" y="126"/>
                      <a:pt x="476" y="263"/>
                    </a:cubicBezTo>
                    <a:cubicBezTo>
                      <a:pt x="476"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2" y="214"/>
                    </a:moveTo>
                    <a:cubicBezTo>
                      <a:pt x="334" y="152"/>
                      <a:pt x="298" y="111"/>
                      <a:pt x="240" y="111"/>
                    </a:cubicBezTo>
                    <a:cubicBezTo>
                      <a:pt x="183" y="111"/>
                      <a:pt x="146" y="151"/>
                      <a:pt x="135" y="214"/>
                    </a:cubicBezTo>
                    <a:lnTo>
                      <a:pt x="342"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11">
                <a:extLst>
                  <a:ext uri="{FF2B5EF4-FFF2-40B4-BE49-F238E27FC236}">
                    <a16:creationId xmlns:a16="http://schemas.microsoft.com/office/drawing/2014/main" id="{5700CEE7-82FA-F314-D150-00348A9C1993}"/>
                  </a:ext>
                </a:extLst>
              </p:cNvPr>
              <p:cNvSpPr>
                <a:spLocks/>
              </p:cNvSpPr>
              <p:nvPr userDrawn="1"/>
            </p:nvSpPr>
            <p:spPr bwMode="auto">
              <a:xfrm>
                <a:off x="6837879" y="564438"/>
                <a:ext cx="127221"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12">
                <a:extLst>
                  <a:ext uri="{FF2B5EF4-FFF2-40B4-BE49-F238E27FC236}">
                    <a16:creationId xmlns:a16="http://schemas.microsoft.com/office/drawing/2014/main" id="{FC0AB9F7-3D02-4537-31F6-D98B2250C9F3}"/>
                  </a:ext>
                </a:extLst>
              </p:cNvPr>
              <p:cNvSpPr>
                <a:spLocks/>
              </p:cNvSpPr>
              <p:nvPr userDrawn="1"/>
            </p:nvSpPr>
            <p:spPr bwMode="auto">
              <a:xfrm>
                <a:off x="4988072" y="888476"/>
                <a:ext cx="134757" cy="268628"/>
              </a:xfrm>
              <a:custGeom>
                <a:avLst/>
                <a:gdLst>
                  <a:gd name="T0" fmla="*/ 58 w 310"/>
                  <a:gd name="T1" fmla="*/ 472 h 618"/>
                  <a:gd name="T2" fmla="*/ 58 w 310"/>
                  <a:gd name="T3" fmla="*/ 242 h 618"/>
                  <a:gd name="T4" fmla="*/ 0 w 310"/>
                  <a:gd name="T5" fmla="*/ 242 h 618"/>
                  <a:gd name="T6" fmla="*/ 0 w 310"/>
                  <a:gd name="T7" fmla="*/ 124 h 618"/>
                  <a:gd name="T8" fmla="*/ 58 w 310"/>
                  <a:gd name="T9" fmla="*/ 124 h 618"/>
                  <a:gd name="T10" fmla="*/ 58 w 310"/>
                  <a:gd name="T11" fmla="*/ 0 h 618"/>
                  <a:gd name="T12" fmla="*/ 195 w 310"/>
                  <a:gd name="T13" fmla="*/ 0 h 618"/>
                  <a:gd name="T14" fmla="*/ 195 w 310"/>
                  <a:gd name="T15" fmla="*/ 124 h 618"/>
                  <a:gd name="T16" fmla="*/ 310 w 310"/>
                  <a:gd name="T17" fmla="*/ 124 h 618"/>
                  <a:gd name="T18" fmla="*/ 310 w 310"/>
                  <a:gd name="T19" fmla="*/ 242 h 618"/>
                  <a:gd name="T20" fmla="*/ 195 w 310"/>
                  <a:gd name="T21" fmla="*/ 242 h 618"/>
                  <a:gd name="T22" fmla="*/ 195 w 310"/>
                  <a:gd name="T23" fmla="*/ 449 h 618"/>
                  <a:gd name="T24" fmla="*/ 240 w 310"/>
                  <a:gd name="T25" fmla="*/ 496 h 618"/>
                  <a:gd name="T26" fmla="*/ 308 w 310"/>
                  <a:gd name="T27" fmla="*/ 479 h 618"/>
                  <a:gd name="T28" fmla="*/ 308 w 310"/>
                  <a:gd name="T29" fmla="*/ 590 h 618"/>
                  <a:gd name="T30" fmla="*/ 199 w 310"/>
                  <a:gd name="T31" fmla="*/ 618 h 618"/>
                  <a:gd name="T32" fmla="*/ 58 w 310"/>
                  <a:gd name="T33" fmla="*/ 47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8">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5" y="0"/>
                      <a:pt x="195" y="0"/>
                      <a:pt x="195" y="0"/>
                    </a:cubicBezTo>
                    <a:cubicBezTo>
                      <a:pt x="195" y="124"/>
                      <a:pt x="195" y="124"/>
                      <a:pt x="195" y="124"/>
                    </a:cubicBezTo>
                    <a:cubicBezTo>
                      <a:pt x="310" y="124"/>
                      <a:pt x="310" y="124"/>
                      <a:pt x="310" y="124"/>
                    </a:cubicBezTo>
                    <a:cubicBezTo>
                      <a:pt x="310" y="242"/>
                      <a:pt x="310" y="242"/>
                      <a:pt x="310" y="242"/>
                    </a:cubicBezTo>
                    <a:cubicBezTo>
                      <a:pt x="195" y="242"/>
                      <a:pt x="195" y="242"/>
                      <a:pt x="195" y="242"/>
                    </a:cubicBezTo>
                    <a:cubicBezTo>
                      <a:pt x="195" y="449"/>
                      <a:pt x="195" y="449"/>
                      <a:pt x="195" y="449"/>
                    </a:cubicBezTo>
                    <a:cubicBezTo>
                      <a:pt x="195" y="481"/>
                      <a:pt x="209" y="496"/>
                      <a:pt x="240" y="496"/>
                    </a:cubicBezTo>
                    <a:cubicBezTo>
                      <a:pt x="265" y="496"/>
                      <a:pt x="288" y="490"/>
                      <a:pt x="308" y="479"/>
                    </a:cubicBezTo>
                    <a:cubicBezTo>
                      <a:pt x="308" y="590"/>
                      <a:pt x="308" y="590"/>
                      <a:pt x="308" y="590"/>
                    </a:cubicBezTo>
                    <a:cubicBezTo>
                      <a:pt x="279" y="607"/>
                      <a:pt x="245" y="618"/>
                      <a:pt x="199" y="618"/>
                    </a:cubicBezTo>
                    <a:cubicBezTo>
                      <a:pt x="115" y="618"/>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13">
                <a:extLst>
                  <a:ext uri="{FF2B5EF4-FFF2-40B4-BE49-F238E27FC236}">
                    <a16:creationId xmlns:a16="http://schemas.microsoft.com/office/drawing/2014/main" id="{12D11DBC-90A7-4337-F6CB-C20DBD872CBD}"/>
                  </a:ext>
                </a:extLst>
              </p:cNvPr>
              <p:cNvSpPr>
                <a:spLocks noEditPoints="1"/>
              </p:cNvSpPr>
              <p:nvPr userDrawn="1"/>
            </p:nvSpPr>
            <p:spPr bwMode="auto">
              <a:xfrm>
                <a:off x="5131251" y="938123"/>
                <a:ext cx="207455" cy="219867"/>
              </a:xfrm>
              <a:custGeom>
                <a:avLst/>
                <a:gdLst>
                  <a:gd name="T0" fmla="*/ 0 w 477"/>
                  <a:gd name="T1" fmla="*/ 254 h 505"/>
                  <a:gd name="T2" fmla="*/ 0 w 477"/>
                  <a:gd name="T3" fmla="*/ 253 h 505"/>
                  <a:gd name="T4" fmla="*/ 240 w 477"/>
                  <a:gd name="T5" fmla="*/ 0 h 505"/>
                  <a:gd name="T6" fmla="*/ 477 w 477"/>
                  <a:gd name="T7" fmla="*/ 263 h 505"/>
                  <a:gd name="T8" fmla="*/ 475 w 477"/>
                  <a:gd name="T9" fmla="*/ 300 h 505"/>
                  <a:gd name="T10" fmla="*/ 137 w 477"/>
                  <a:gd name="T11" fmla="*/ 300 h 505"/>
                  <a:gd name="T12" fmla="*/ 256 w 477"/>
                  <a:gd name="T13" fmla="*/ 395 h 505"/>
                  <a:gd name="T14" fmla="*/ 373 w 477"/>
                  <a:gd name="T15" fmla="*/ 345 h 505"/>
                  <a:gd name="T16" fmla="*/ 452 w 477"/>
                  <a:gd name="T17" fmla="*/ 415 h 505"/>
                  <a:gd name="T18" fmla="*/ 254 w 477"/>
                  <a:gd name="T19" fmla="*/ 505 h 505"/>
                  <a:gd name="T20" fmla="*/ 0 w 477"/>
                  <a:gd name="T21" fmla="*/ 254 h 505"/>
                  <a:gd name="T22" fmla="*/ 343 w 477"/>
                  <a:gd name="T23" fmla="*/ 214 h 505"/>
                  <a:gd name="T24" fmla="*/ 240 w 477"/>
                  <a:gd name="T25" fmla="*/ 111 h 505"/>
                  <a:gd name="T26" fmla="*/ 135 w 477"/>
                  <a:gd name="T27" fmla="*/ 214 h 505"/>
                  <a:gd name="T28" fmla="*/ 343 w 477"/>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 h="505">
                    <a:moveTo>
                      <a:pt x="0" y="254"/>
                    </a:moveTo>
                    <a:cubicBezTo>
                      <a:pt x="0" y="253"/>
                      <a:pt x="0" y="253"/>
                      <a:pt x="0" y="253"/>
                    </a:cubicBezTo>
                    <a:cubicBezTo>
                      <a:pt x="0" y="114"/>
                      <a:pt x="99" y="0"/>
                      <a:pt x="240" y="0"/>
                    </a:cubicBezTo>
                    <a:cubicBezTo>
                      <a:pt x="402" y="0"/>
                      <a:pt x="477" y="126"/>
                      <a:pt x="477" y="263"/>
                    </a:cubicBezTo>
                    <a:cubicBezTo>
                      <a:pt x="477"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3" y="214"/>
                    </a:moveTo>
                    <a:cubicBezTo>
                      <a:pt x="334" y="152"/>
                      <a:pt x="298" y="111"/>
                      <a:pt x="240" y="111"/>
                    </a:cubicBezTo>
                    <a:cubicBezTo>
                      <a:pt x="183" y="111"/>
                      <a:pt x="146" y="151"/>
                      <a:pt x="135" y="214"/>
                    </a:cubicBezTo>
                    <a:lnTo>
                      <a:pt x="34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14">
                <a:extLst>
                  <a:ext uri="{FF2B5EF4-FFF2-40B4-BE49-F238E27FC236}">
                    <a16:creationId xmlns:a16="http://schemas.microsoft.com/office/drawing/2014/main" id="{F524D8E9-37C3-A27E-30E8-DF8ACF25D41F}"/>
                  </a:ext>
                </a:extLst>
              </p:cNvPr>
              <p:cNvSpPr>
                <a:spLocks/>
              </p:cNvSpPr>
              <p:nvPr userDrawn="1"/>
            </p:nvSpPr>
            <p:spPr bwMode="auto">
              <a:xfrm>
                <a:off x="5348015" y="938123"/>
                <a:ext cx="195486" cy="219867"/>
              </a:xfrm>
              <a:custGeom>
                <a:avLst/>
                <a:gdLst>
                  <a:gd name="T0" fmla="*/ 0 w 450"/>
                  <a:gd name="T1" fmla="*/ 254 h 505"/>
                  <a:gd name="T2" fmla="*/ 0 w 450"/>
                  <a:gd name="T3" fmla="*/ 253 h 505"/>
                  <a:gd name="T4" fmla="*/ 254 w 450"/>
                  <a:gd name="T5" fmla="*/ 0 h 505"/>
                  <a:gd name="T6" fmla="*/ 448 w 450"/>
                  <a:gd name="T7" fmla="*/ 82 h 505"/>
                  <a:gd name="T8" fmla="*/ 363 w 450"/>
                  <a:gd name="T9" fmla="*/ 172 h 505"/>
                  <a:gd name="T10" fmla="*/ 253 w 450"/>
                  <a:gd name="T11" fmla="*/ 119 h 505"/>
                  <a:gd name="T12" fmla="*/ 135 w 450"/>
                  <a:gd name="T13" fmla="*/ 251 h 505"/>
                  <a:gd name="T14" fmla="*/ 135 w 450"/>
                  <a:gd name="T15" fmla="*/ 253 h 505"/>
                  <a:gd name="T16" fmla="*/ 258 w 450"/>
                  <a:gd name="T17" fmla="*/ 387 h 505"/>
                  <a:gd name="T18" fmla="*/ 370 w 450"/>
                  <a:gd name="T19" fmla="*/ 335 h 505"/>
                  <a:gd name="T20" fmla="*/ 450 w 450"/>
                  <a:gd name="T21" fmla="*/ 416 h 505"/>
                  <a:gd name="T22" fmla="*/ 252 w 450"/>
                  <a:gd name="T23" fmla="*/ 505 h 505"/>
                  <a:gd name="T24" fmla="*/ 0 w 450"/>
                  <a:gd name="T25"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505">
                    <a:moveTo>
                      <a:pt x="0" y="254"/>
                    </a:moveTo>
                    <a:cubicBezTo>
                      <a:pt x="0" y="253"/>
                      <a:pt x="0" y="253"/>
                      <a:pt x="0" y="253"/>
                    </a:cubicBezTo>
                    <a:cubicBezTo>
                      <a:pt x="0" y="114"/>
                      <a:pt x="106" y="0"/>
                      <a:pt x="254" y="0"/>
                    </a:cubicBezTo>
                    <a:cubicBezTo>
                      <a:pt x="345" y="0"/>
                      <a:pt x="402" y="31"/>
                      <a:pt x="448" y="82"/>
                    </a:cubicBezTo>
                    <a:cubicBezTo>
                      <a:pt x="363" y="172"/>
                      <a:pt x="363" y="172"/>
                      <a:pt x="363" y="172"/>
                    </a:cubicBezTo>
                    <a:cubicBezTo>
                      <a:pt x="333" y="139"/>
                      <a:pt x="302" y="119"/>
                      <a:pt x="253" y="119"/>
                    </a:cubicBezTo>
                    <a:cubicBezTo>
                      <a:pt x="184" y="119"/>
                      <a:pt x="135" y="179"/>
                      <a:pt x="135" y="251"/>
                    </a:cubicBezTo>
                    <a:cubicBezTo>
                      <a:pt x="135" y="253"/>
                      <a:pt x="135" y="253"/>
                      <a:pt x="135" y="253"/>
                    </a:cubicBezTo>
                    <a:cubicBezTo>
                      <a:pt x="135" y="327"/>
                      <a:pt x="183" y="387"/>
                      <a:pt x="258" y="387"/>
                    </a:cubicBezTo>
                    <a:cubicBezTo>
                      <a:pt x="305" y="387"/>
                      <a:pt x="336" y="367"/>
                      <a:pt x="370" y="335"/>
                    </a:cubicBezTo>
                    <a:cubicBezTo>
                      <a:pt x="450" y="416"/>
                      <a:pt x="450" y="416"/>
                      <a:pt x="450" y="416"/>
                    </a:cubicBezTo>
                    <a:cubicBezTo>
                      <a:pt x="403" y="468"/>
                      <a:pt x="349" y="505"/>
                      <a:pt x="252" y="505"/>
                    </a:cubicBezTo>
                    <a:cubicBezTo>
                      <a:pt x="106" y="505"/>
                      <a:pt x="0" y="393"/>
                      <a:pt x="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15">
                <a:extLst>
                  <a:ext uri="{FF2B5EF4-FFF2-40B4-BE49-F238E27FC236}">
                    <a16:creationId xmlns:a16="http://schemas.microsoft.com/office/drawing/2014/main" id="{083673F6-E265-4005-D62C-293234A8CE09}"/>
                  </a:ext>
                </a:extLst>
              </p:cNvPr>
              <p:cNvSpPr>
                <a:spLocks/>
              </p:cNvSpPr>
              <p:nvPr userDrawn="1"/>
            </p:nvSpPr>
            <p:spPr bwMode="auto">
              <a:xfrm>
                <a:off x="5553254" y="866312"/>
                <a:ext cx="193270" cy="286802"/>
              </a:xfrm>
              <a:custGeom>
                <a:avLst/>
                <a:gdLst>
                  <a:gd name="T0" fmla="*/ 0 w 445"/>
                  <a:gd name="T1" fmla="*/ 0 h 660"/>
                  <a:gd name="T2" fmla="*/ 138 w 445"/>
                  <a:gd name="T3" fmla="*/ 0 h 660"/>
                  <a:gd name="T4" fmla="*/ 138 w 445"/>
                  <a:gd name="T5" fmla="*/ 244 h 660"/>
                  <a:gd name="T6" fmla="*/ 280 w 445"/>
                  <a:gd name="T7" fmla="*/ 166 h 660"/>
                  <a:gd name="T8" fmla="*/ 445 w 445"/>
                  <a:gd name="T9" fmla="*/ 346 h 660"/>
                  <a:gd name="T10" fmla="*/ 445 w 445"/>
                  <a:gd name="T11" fmla="*/ 660 h 660"/>
                  <a:gd name="T12" fmla="*/ 307 w 445"/>
                  <a:gd name="T13" fmla="*/ 660 h 660"/>
                  <a:gd name="T14" fmla="*/ 307 w 445"/>
                  <a:gd name="T15" fmla="*/ 390 h 660"/>
                  <a:gd name="T16" fmla="*/ 224 w 445"/>
                  <a:gd name="T17" fmla="*/ 291 h 660"/>
                  <a:gd name="T18" fmla="*/ 138 w 445"/>
                  <a:gd name="T19" fmla="*/ 390 h 660"/>
                  <a:gd name="T20" fmla="*/ 138 w 445"/>
                  <a:gd name="T21" fmla="*/ 660 h 660"/>
                  <a:gd name="T22" fmla="*/ 0 w 445"/>
                  <a:gd name="T23" fmla="*/ 660 h 660"/>
                  <a:gd name="T24" fmla="*/ 0 w 445"/>
                  <a:gd name="T2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660">
                    <a:moveTo>
                      <a:pt x="0" y="0"/>
                    </a:moveTo>
                    <a:cubicBezTo>
                      <a:pt x="138" y="0"/>
                      <a:pt x="138" y="0"/>
                      <a:pt x="138" y="0"/>
                    </a:cubicBezTo>
                    <a:cubicBezTo>
                      <a:pt x="138" y="244"/>
                      <a:pt x="138" y="244"/>
                      <a:pt x="138" y="244"/>
                    </a:cubicBezTo>
                    <a:cubicBezTo>
                      <a:pt x="169" y="203"/>
                      <a:pt x="210" y="166"/>
                      <a:pt x="280" y="166"/>
                    </a:cubicBezTo>
                    <a:cubicBezTo>
                      <a:pt x="384" y="166"/>
                      <a:pt x="445" y="235"/>
                      <a:pt x="445" y="346"/>
                    </a:cubicBezTo>
                    <a:cubicBezTo>
                      <a:pt x="445" y="660"/>
                      <a:pt x="445" y="660"/>
                      <a:pt x="445" y="660"/>
                    </a:cubicBezTo>
                    <a:cubicBezTo>
                      <a:pt x="307" y="660"/>
                      <a:pt x="307" y="660"/>
                      <a:pt x="307" y="660"/>
                    </a:cubicBezTo>
                    <a:cubicBezTo>
                      <a:pt x="307" y="390"/>
                      <a:pt x="307" y="390"/>
                      <a:pt x="307" y="390"/>
                    </a:cubicBezTo>
                    <a:cubicBezTo>
                      <a:pt x="307" y="324"/>
                      <a:pt x="276" y="291"/>
                      <a:pt x="224" y="291"/>
                    </a:cubicBezTo>
                    <a:cubicBezTo>
                      <a:pt x="171" y="291"/>
                      <a:pt x="138" y="324"/>
                      <a:pt x="138" y="390"/>
                    </a:cubicBezTo>
                    <a:cubicBezTo>
                      <a:pt x="138" y="660"/>
                      <a:pt x="138" y="660"/>
                      <a:pt x="138" y="660"/>
                    </a:cubicBezTo>
                    <a:cubicBezTo>
                      <a:pt x="0" y="660"/>
                      <a:pt x="0" y="660"/>
                      <a:pt x="0" y="66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6">
                <a:extLst>
                  <a:ext uri="{FF2B5EF4-FFF2-40B4-BE49-F238E27FC236}">
                    <a16:creationId xmlns:a16="http://schemas.microsoft.com/office/drawing/2014/main" id="{4F04928C-BA06-2085-F636-A4F44FC6E987}"/>
                  </a:ext>
                </a:extLst>
              </p:cNvPr>
              <p:cNvSpPr>
                <a:spLocks/>
              </p:cNvSpPr>
              <p:nvPr userDrawn="1"/>
            </p:nvSpPr>
            <p:spPr bwMode="auto">
              <a:xfrm>
                <a:off x="5762039" y="938123"/>
                <a:ext cx="192827" cy="214991"/>
              </a:xfrm>
              <a:custGeom>
                <a:avLst/>
                <a:gdLst>
                  <a:gd name="T0" fmla="*/ 0 w 444"/>
                  <a:gd name="T1" fmla="*/ 9 h 494"/>
                  <a:gd name="T2" fmla="*/ 137 w 444"/>
                  <a:gd name="T3" fmla="*/ 9 h 494"/>
                  <a:gd name="T4" fmla="*/ 137 w 444"/>
                  <a:gd name="T5" fmla="*/ 78 h 494"/>
                  <a:gd name="T6" fmla="*/ 279 w 444"/>
                  <a:gd name="T7" fmla="*/ 0 h 494"/>
                  <a:gd name="T8" fmla="*/ 444 w 444"/>
                  <a:gd name="T9" fmla="*/ 180 h 494"/>
                  <a:gd name="T10" fmla="*/ 444 w 444"/>
                  <a:gd name="T11" fmla="*/ 494 h 494"/>
                  <a:gd name="T12" fmla="*/ 306 w 444"/>
                  <a:gd name="T13" fmla="*/ 494 h 494"/>
                  <a:gd name="T14" fmla="*/ 306 w 444"/>
                  <a:gd name="T15" fmla="*/ 224 h 494"/>
                  <a:gd name="T16" fmla="*/ 223 w 444"/>
                  <a:gd name="T17" fmla="*/ 125 h 494"/>
                  <a:gd name="T18" fmla="*/ 137 w 444"/>
                  <a:gd name="T19" fmla="*/ 224 h 494"/>
                  <a:gd name="T20" fmla="*/ 137 w 444"/>
                  <a:gd name="T21" fmla="*/ 494 h 494"/>
                  <a:gd name="T22" fmla="*/ 0 w 444"/>
                  <a:gd name="T23" fmla="*/ 494 h 494"/>
                  <a:gd name="T24" fmla="*/ 0 w 444"/>
                  <a:gd name="T25"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94">
                    <a:moveTo>
                      <a:pt x="0" y="9"/>
                    </a:moveTo>
                    <a:cubicBezTo>
                      <a:pt x="137" y="9"/>
                      <a:pt x="137" y="9"/>
                      <a:pt x="137" y="9"/>
                    </a:cubicBezTo>
                    <a:cubicBezTo>
                      <a:pt x="137" y="78"/>
                      <a:pt x="137" y="78"/>
                      <a:pt x="137" y="78"/>
                    </a:cubicBezTo>
                    <a:cubicBezTo>
                      <a:pt x="169" y="37"/>
                      <a:pt x="210" y="0"/>
                      <a:pt x="279" y="0"/>
                    </a:cubicBezTo>
                    <a:cubicBezTo>
                      <a:pt x="383" y="0"/>
                      <a:pt x="444" y="69"/>
                      <a:pt x="444" y="180"/>
                    </a:cubicBezTo>
                    <a:cubicBezTo>
                      <a:pt x="444" y="494"/>
                      <a:pt x="444" y="494"/>
                      <a:pt x="444" y="494"/>
                    </a:cubicBezTo>
                    <a:cubicBezTo>
                      <a:pt x="306" y="494"/>
                      <a:pt x="306" y="494"/>
                      <a:pt x="306" y="494"/>
                    </a:cubicBezTo>
                    <a:cubicBezTo>
                      <a:pt x="306" y="224"/>
                      <a:pt x="306" y="224"/>
                      <a:pt x="306" y="224"/>
                    </a:cubicBezTo>
                    <a:cubicBezTo>
                      <a:pt x="306" y="158"/>
                      <a:pt x="276" y="125"/>
                      <a:pt x="223" y="125"/>
                    </a:cubicBezTo>
                    <a:cubicBezTo>
                      <a:pt x="171" y="125"/>
                      <a:pt x="137" y="158"/>
                      <a:pt x="137" y="224"/>
                    </a:cubicBezTo>
                    <a:cubicBezTo>
                      <a:pt x="137" y="494"/>
                      <a:pt x="137" y="494"/>
                      <a:pt x="137"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7">
                <a:extLst>
                  <a:ext uri="{FF2B5EF4-FFF2-40B4-BE49-F238E27FC236}">
                    <a16:creationId xmlns:a16="http://schemas.microsoft.com/office/drawing/2014/main" id="{0B7609F1-6889-0F3F-1078-1078D3AEDAE7}"/>
                  </a:ext>
                </a:extLst>
              </p:cNvPr>
              <p:cNvSpPr>
                <a:spLocks noEditPoints="1"/>
              </p:cNvSpPr>
              <p:nvPr userDrawn="1"/>
            </p:nvSpPr>
            <p:spPr bwMode="auto">
              <a:xfrm>
                <a:off x="5967277" y="938123"/>
                <a:ext cx="228289" cy="219867"/>
              </a:xfrm>
              <a:custGeom>
                <a:avLst/>
                <a:gdLst>
                  <a:gd name="T0" fmla="*/ 0 w 525"/>
                  <a:gd name="T1" fmla="*/ 254 h 505"/>
                  <a:gd name="T2" fmla="*/ 0 w 525"/>
                  <a:gd name="T3" fmla="*/ 253 h 505"/>
                  <a:gd name="T4" fmla="*/ 263 w 525"/>
                  <a:gd name="T5" fmla="*/ 0 h 505"/>
                  <a:gd name="T6" fmla="*/ 525 w 525"/>
                  <a:gd name="T7" fmla="*/ 251 h 505"/>
                  <a:gd name="T8" fmla="*/ 525 w 525"/>
                  <a:gd name="T9" fmla="*/ 253 h 505"/>
                  <a:gd name="T10" fmla="*/ 262 w 525"/>
                  <a:gd name="T11" fmla="*/ 505 h 505"/>
                  <a:gd name="T12" fmla="*/ 0 w 525"/>
                  <a:gd name="T13" fmla="*/ 254 h 505"/>
                  <a:gd name="T14" fmla="*/ 389 w 525"/>
                  <a:gd name="T15" fmla="*/ 254 h 505"/>
                  <a:gd name="T16" fmla="*/ 389 w 525"/>
                  <a:gd name="T17" fmla="*/ 253 h 505"/>
                  <a:gd name="T18" fmla="*/ 262 w 525"/>
                  <a:gd name="T19" fmla="*/ 119 h 505"/>
                  <a:gd name="T20" fmla="*/ 136 w 525"/>
                  <a:gd name="T21" fmla="*/ 251 h 505"/>
                  <a:gd name="T22" fmla="*/ 136 w 525"/>
                  <a:gd name="T23" fmla="*/ 253 h 505"/>
                  <a:gd name="T24" fmla="*/ 263 w 525"/>
                  <a:gd name="T25" fmla="*/ 387 h 505"/>
                  <a:gd name="T26" fmla="*/ 389 w 525"/>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5">
                    <a:moveTo>
                      <a:pt x="0" y="254"/>
                    </a:moveTo>
                    <a:cubicBezTo>
                      <a:pt x="0" y="253"/>
                      <a:pt x="0" y="253"/>
                      <a:pt x="0" y="253"/>
                    </a:cubicBezTo>
                    <a:cubicBezTo>
                      <a:pt x="0" y="113"/>
                      <a:pt x="112" y="0"/>
                      <a:pt x="263" y="0"/>
                    </a:cubicBezTo>
                    <a:cubicBezTo>
                      <a:pt x="414" y="0"/>
                      <a:pt x="525" y="111"/>
                      <a:pt x="525" y="251"/>
                    </a:cubicBezTo>
                    <a:cubicBezTo>
                      <a:pt x="525" y="253"/>
                      <a:pt x="525" y="253"/>
                      <a:pt x="525" y="253"/>
                    </a:cubicBezTo>
                    <a:cubicBezTo>
                      <a:pt x="525" y="392"/>
                      <a:pt x="413" y="505"/>
                      <a:pt x="262" y="505"/>
                    </a:cubicBezTo>
                    <a:cubicBezTo>
                      <a:pt x="111" y="505"/>
                      <a:pt x="0" y="394"/>
                      <a:pt x="0" y="254"/>
                    </a:cubicBezTo>
                    <a:close/>
                    <a:moveTo>
                      <a:pt x="389" y="254"/>
                    </a:moveTo>
                    <a:cubicBezTo>
                      <a:pt x="389" y="253"/>
                      <a:pt x="389" y="253"/>
                      <a:pt x="389" y="253"/>
                    </a:cubicBezTo>
                    <a:cubicBezTo>
                      <a:pt x="389" y="181"/>
                      <a:pt x="338" y="119"/>
                      <a:pt x="262" y="119"/>
                    </a:cubicBezTo>
                    <a:cubicBezTo>
                      <a:pt x="183" y="119"/>
                      <a:pt x="136" y="179"/>
                      <a:pt x="136" y="251"/>
                    </a:cubicBezTo>
                    <a:cubicBezTo>
                      <a:pt x="136" y="253"/>
                      <a:pt x="136" y="253"/>
                      <a:pt x="136" y="253"/>
                    </a:cubicBezTo>
                    <a:cubicBezTo>
                      <a:pt x="136" y="324"/>
                      <a:pt x="187" y="387"/>
                      <a:pt x="263" y="387"/>
                    </a:cubicBezTo>
                    <a:cubicBezTo>
                      <a:pt x="342" y="387"/>
                      <a:pt x="389" y="326"/>
                      <a:pt x="389"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8">
                <a:extLst>
                  <a:ext uri="{FF2B5EF4-FFF2-40B4-BE49-F238E27FC236}">
                    <a16:creationId xmlns:a16="http://schemas.microsoft.com/office/drawing/2014/main" id="{14DEDB85-DF79-F93C-595F-4B0E6B36F339}"/>
                  </a:ext>
                </a:extLst>
              </p:cNvPr>
              <p:cNvSpPr>
                <a:spLocks noChangeArrowheads="1"/>
              </p:cNvSpPr>
              <p:nvPr userDrawn="1"/>
            </p:nvSpPr>
            <p:spPr bwMode="auto">
              <a:xfrm>
                <a:off x="6207091" y="866312"/>
                <a:ext cx="59843" cy="2868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9">
                <a:extLst>
                  <a:ext uri="{FF2B5EF4-FFF2-40B4-BE49-F238E27FC236}">
                    <a16:creationId xmlns:a16="http://schemas.microsoft.com/office/drawing/2014/main" id="{481DD98C-1DDB-14FF-BA62-46FAD00BAA89}"/>
                  </a:ext>
                </a:extLst>
              </p:cNvPr>
              <p:cNvSpPr>
                <a:spLocks noEditPoints="1"/>
              </p:cNvSpPr>
              <p:nvPr userDrawn="1"/>
            </p:nvSpPr>
            <p:spPr bwMode="auto">
              <a:xfrm>
                <a:off x="6278460" y="938123"/>
                <a:ext cx="228732" cy="219867"/>
              </a:xfrm>
              <a:custGeom>
                <a:avLst/>
                <a:gdLst>
                  <a:gd name="T0" fmla="*/ 0 w 526"/>
                  <a:gd name="T1" fmla="*/ 254 h 505"/>
                  <a:gd name="T2" fmla="*/ 0 w 526"/>
                  <a:gd name="T3" fmla="*/ 253 h 505"/>
                  <a:gd name="T4" fmla="*/ 264 w 526"/>
                  <a:gd name="T5" fmla="*/ 0 h 505"/>
                  <a:gd name="T6" fmla="*/ 526 w 526"/>
                  <a:gd name="T7" fmla="*/ 251 h 505"/>
                  <a:gd name="T8" fmla="*/ 526 w 526"/>
                  <a:gd name="T9" fmla="*/ 253 h 505"/>
                  <a:gd name="T10" fmla="*/ 262 w 526"/>
                  <a:gd name="T11" fmla="*/ 505 h 505"/>
                  <a:gd name="T12" fmla="*/ 0 w 526"/>
                  <a:gd name="T13" fmla="*/ 254 h 505"/>
                  <a:gd name="T14" fmla="*/ 390 w 526"/>
                  <a:gd name="T15" fmla="*/ 254 h 505"/>
                  <a:gd name="T16" fmla="*/ 390 w 526"/>
                  <a:gd name="T17" fmla="*/ 253 h 505"/>
                  <a:gd name="T18" fmla="*/ 262 w 526"/>
                  <a:gd name="T19" fmla="*/ 119 h 505"/>
                  <a:gd name="T20" fmla="*/ 136 w 526"/>
                  <a:gd name="T21" fmla="*/ 251 h 505"/>
                  <a:gd name="T22" fmla="*/ 136 w 526"/>
                  <a:gd name="T23" fmla="*/ 253 h 505"/>
                  <a:gd name="T24" fmla="*/ 264 w 526"/>
                  <a:gd name="T25" fmla="*/ 387 h 505"/>
                  <a:gd name="T26" fmla="*/ 390 w 526"/>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05">
                    <a:moveTo>
                      <a:pt x="0" y="254"/>
                    </a:moveTo>
                    <a:cubicBezTo>
                      <a:pt x="0" y="253"/>
                      <a:pt x="0" y="253"/>
                      <a:pt x="0" y="253"/>
                    </a:cubicBezTo>
                    <a:cubicBezTo>
                      <a:pt x="0" y="113"/>
                      <a:pt x="113" y="0"/>
                      <a:pt x="264" y="0"/>
                    </a:cubicBezTo>
                    <a:cubicBezTo>
                      <a:pt x="414" y="0"/>
                      <a:pt x="526" y="111"/>
                      <a:pt x="526" y="251"/>
                    </a:cubicBezTo>
                    <a:cubicBezTo>
                      <a:pt x="526" y="253"/>
                      <a:pt x="526" y="253"/>
                      <a:pt x="526" y="253"/>
                    </a:cubicBezTo>
                    <a:cubicBezTo>
                      <a:pt x="526" y="392"/>
                      <a:pt x="413" y="505"/>
                      <a:pt x="262" y="505"/>
                    </a:cubicBezTo>
                    <a:cubicBezTo>
                      <a:pt x="112" y="505"/>
                      <a:pt x="0" y="394"/>
                      <a:pt x="0" y="254"/>
                    </a:cubicBezTo>
                    <a:close/>
                    <a:moveTo>
                      <a:pt x="390" y="254"/>
                    </a:moveTo>
                    <a:cubicBezTo>
                      <a:pt x="390" y="253"/>
                      <a:pt x="390" y="253"/>
                      <a:pt x="390" y="253"/>
                    </a:cubicBezTo>
                    <a:cubicBezTo>
                      <a:pt x="390" y="181"/>
                      <a:pt x="338" y="119"/>
                      <a:pt x="262" y="119"/>
                    </a:cubicBezTo>
                    <a:cubicBezTo>
                      <a:pt x="183" y="119"/>
                      <a:pt x="136" y="179"/>
                      <a:pt x="136" y="251"/>
                    </a:cubicBezTo>
                    <a:cubicBezTo>
                      <a:pt x="136" y="253"/>
                      <a:pt x="136" y="253"/>
                      <a:pt x="136" y="253"/>
                    </a:cubicBezTo>
                    <a:cubicBezTo>
                      <a:pt x="136" y="324"/>
                      <a:pt x="188" y="387"/>
                      <a:pt x="264" y="387"/>
                    </a:cubicBezTo>
                    <a:cubicBezTo>
                      <a:pt x="343" y="387"/>
                      <a:pt x="390" y="326"/>
                      <a:pt x="39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20">
                <a:extLst>
                  <a:ext uri="{FF2B5EF4-FFF2-40B4-BE49-F238E27FC236}">
                    <a16:creationId xmlns:a16="http://schemas.microsoft.com/office/drawing/2014/main" id="{BDC10D2B-8240-1306-CC54-B3F0CF2378C2}"/>
                  </a:ext>
                </a:extLst>
              </p:cNvPr>
              <p:cNvSpPr>
                <a:spLocks noEditPoints="1"/>
              </p:cNvSpPr>
              <p:nvPr userDrawn="1"/>
            </p:nvSpPr>
            <p:spPr bwMode="auto">
              <a:xfrm>
                <a:off x="6516057" y="938123"/>
                <a:ext cx="221197" cy="278823"/>
              </a:xfrm>
              <a:custGeom>
                <a:avLst/>
                <a:gdLst>
                  <a:gd name="T0" fmla="*/ 24 w 509"/>
                  <a:gd name="T1" fmla="*/ 590 h 641"/>
                  <a:gd name="T2" fmla="*/ 71 w 509"/>
                  <a:gd name="T3" fmla="*/ 487 h 641"/>
                  <a:gd name="T4" fmla="*/ 235 w 509"/>
                  <a:gd name="T5" fmla="*/ 531 h 641"/>
                  <a:gd name="T6" fmla="*/ 373 w 509"/>
                  <a:gd name="T7" fmla="*/ 399 h 641"/>
                  <a:gd name="T8" fmla="*/ 373 w 509"/>
                  <a:gd name="T9" fmla="*/ 376 h 641"/>
                  <a:gd name="T10" fmla="*/ 215 w 509"/>
                  <a:gd name="T11" fmla="*/ 454 h 641"/>
                  <a:gd name="T12" fmla="*/ 0 w 509"/>
                  <a:gd name="T13" fmla="*/ 228 h 641"/>
                  <a:gd name="T14" fmla="*/ 0 w 509"/>
                  <a:gd name="T15" fmla="*/ 226 h 641"/>
                  <a:gd name="T16" fmla="*/ 215 w 509"/>
                  <a:gd name="T17" fmla="*/ 0 h 641"/>
                  <a:gd name="T18" fmla="*/ 372 w 509"/>
                  <a:gd name="T19" fmla="*/ 72 h 641"/>
                  <a:gd name="T20" fmla="*/ 372 w 509"/>
                  <a:gd name="T21" fmla="*/ 9 h 641"/>
                  <a:gd name="T22" fmla="*/ 509 w 509"/>
                  <a:gd name="T23" fmla="*/ 9 h 641"/>
                  <a:gd name="T24" fmla="*/ 509 w 509"/>
                  <a:gd name="T25" fmla="*/ 385 h 641"/>
                  <a:gd name="T26" fmla="*/ 448 w 509"/>
                  <a:gd name="T27" fmla="*/ 576 h 641"/>
                  <a:gd name="T28" fmla="*/ 239 w 509"/>
                  <a:gd name="T29" fmla="*/ 641 h 641"/>
                  <a:gd name="T30" fmla="*/ 24 w 509"/>
                  <a:gd name="T31" fmla="*/ 590 h 641"/>
                  <a:gd name="T32" fmla="*/ 373 w 509"/>
                  <a:gd name="T33" fmla="*/ 228 h 641"/>
                  <a:gd name="T34" fmla="*/ 373 w 509"/>
                  <a:gd name="T35" fmla="*/ 226 h 641"/>
                  <a:gd name="T36" fmla="*/ 255 w 509"/>
                  <a:gd name="T37" fmla="*/ 114 h 641"/>
                  <a:gd name="T38" fmla="*/ 137 w 509"/>
                  <a:gd name="T39" fmla="*/ 226 h 641"/>
                  <a:gd name="T40" fmla="*/ 137 w 509"/>
                  <a:gd name="T41" fmla="*/ 228 h 641"/>
                  <a:gd name="T42" fmla="*/ 255 w 509"/>
                  <a:gd name="T43" fmla="*/ 340 h 641"/>
                  <a:gd name="T44" fmla="*/ 373 w 509"/>
                  <a:gd name="T45" fmla="*/ 2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9" h="641">
                    <a:moveTo>
                      <a:pt x="24" y="590"/>
                    </a:moveTo>
                    <a:cubicBezTo>
                      <a:pt x="71" y="487"/>
                      <a:pt x="71" y="487"/>
                      <a:pt x="71" y="487"/>
                    </a:cubicBezTo>
                    <a:cubicBezTo>
                      <a:pt x="121" y="515"/>
                      <a:pt x="171" y="531"/>
                      <a:pt x="235" y="531"/>
                    </a:cubicBezTo>
                    <a:cubicBezTo>
                      <a:pt x="329" y="531"/>
                      <a:pt x="373" y="486"/>
                      <a:pt x="373" y="399"/>
                    </a:cubicBezTo>
                    <a:cubicBezTo>
                      <a:pt x="373" y="376"/>
                      <a:pt x="373" y="376"/>
                      <a:pt x="373" y="376"/>
                    </a:cubicBezTo>
                    <a:cubicBezTo>
                      <a:pt x="333" y="425"/>
                      <a:pt x="288" y="454"/>
                      <a:pt x="215" y="454"/>
                    </a:cubicBezTo>
                    <a:cubicBezTo>
                      <a:pt x="102" y="454"/>
                      <a:pt x="0" y="372"/>
                      <a:pt x="0" y="228"/>
                    </a:cubicBezTo>
                    <a:cubicBezTo>
                      <a:pt x="0" y="226"/>
                      <a:pt x="0" y="226"/>
                      <a:pt x="0" y="226"/>
                    </a:cubicBezTo>
                    <a:cubicBezTo>
                      <a:pt x="0" y="82"/>
                      <a:pt x="104" y="0"/>
                      <a:pt x="215" y="0"/>
                    </a:cubicBezTo>
                    <a:cubicBezTo>
                      <a:pt x="290" y="0"/>
                      <a:pt x="334" y="32"/>
                      <a:pt x="372" y="72"/>
                    </a:cubicBezTo>
                    <a:cubicBezTo>
                      <a:pt x="372" y="9"/>
                      <a:pt x="372" y="9"/>
                      <a:pt x="372" y="9"/>
                    </a:cubicBezTo>
                    <a:cubicBezTo>
                      <a:pt x="509" y="9"/>
                      <a:pt x="509" y="9"/>
                      <a:pt x="509" y="9"/>
                    </a:cubicBezTo>
                    <a:cubicBezTo>
                      <a:pt x="509" y="385"/>
                      <a:pt x="509" y="385"/>
                      <a:pt x="509" y="385"/>
                    </a:cubicBezTo>
                    <a:cubicBezTo>
                      <a:pt x="509" y="472"/>
                      <a:pt x="488" y="535"/>
                      <a:pt x="448" y="576"/>
                    </a:cubicBezTo>
                    <a:cubicBezTo>
                      <a:pt x="402" y="621"/>
                      <a:pt x="333" y="641"/>
                      <a:pt x="239" y="641"/>
                    </a:cubicBezTo>
                    <a:cubicBezTo>
                      <a:pt x="160" y="641"/>
                      <a:pt x="86" y="623"/>
                      <a:pt x="24" y="590"/>
                    </a:cubicBezTo>
                    <a:close/>
                    <a:moveTo>
                      <a:pt x="373" y="228"/>
                    </a:moveTo>
                    <a:cubicBezTo>
                      <a:pt x="373" y="226"/>
                      <a:pt x="373" y="226"/>
                      <a:pt x="373" y="226"/>
                    </a:cubicBezTo>
                    <a:cubicBezTo>
                      <a:pt x="373" y="160"/>
                      <a:pt x="322" y="114"/>
                      <a:pt x="255" y="114"/>
                    </a:cubicBezTo>
                    <a:cubicBezTo>
                      <a:pt x="188" y="114"/>
                      <a:pt x="137" y="160"/>
                      <a:pt x="137" y="226"/>
                    </a:cubicBezTo>
                    <a:cubicBezTo>
                      <a:pt x="137" y="228"/>
                      <a:pt x="137" y="228"/>
                      <a:pt x="137" y="228"/>
                    </a:cubicBezTo>
                    <a:cubicBezTo>
                      <a:pt x="137" y="295"/>
                      <a:pt x="188" y="340"/>
                      <a:pt x="255" y="340"/>
                    </a:cubicBezTo>
                    <a:cubicBezTo>
                      <a:pt x="322" y="340"/>
                      <a:pt x="373" y="294"/>
                      <a:pt x="373"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21">
                <a:extLst>
                  <a:ext uri="{FF2B5EF4-FFF2-40B4-BE49-F238E27FC236}">
                    <a16:creationId xmlns:a16="http://schemas.microsoft.com/office/drawing/2014/main" id="{A2A74FC7-B210-AC23-8BAD-A8CEF20144F7}"/>
                  </a:ext>
                </a:extLst>
              </p:cNvPr>
              <p:cNvSpPr>
                <a:spLocks/>
              </p:cNvSpPr>
              <p:nvPr userDrawn="1"/>
            </p:nvSpPr>
            <p:spPr bwMode="auto">
              <a:xfrm>
                <a:off x="6747450" y="942113"/>
                <a:ext cx="219424" cy="275277"/>
              </a:xfrm>
              <a:custGeom>
                <a:avLst/>
                <a:gdLst>
                  <a:gd name="T0" fmla="*/ 362 w 505"/>
                  <a:gd name="T1" fmla="*/ 0 h 633"/>
                  <a:gd name="T2" fmla="*/ 505 w 505"/>
                  <a:gd name="T3" fmla="*/ 0 h 633"/>
                  <a:gd name="T4" fmla="*/ 319 w 505"/>
                  <a:gd name="T5" fmla="*/ 497 h 633"/>
                  <a:gd name="T6" fmla="*/ 159 w 505"/>
                  <a:gd name="T7" fmla="*/ 633 h 633"/>
                  <a:gd name="T8" fmla="*/ 37 w 505"/>
                  <a:gd name="T9" fmla="*/ 599 h 633"/>
                  <a:gd name="T10" fmla="*/ 83 w 505"/>
                  <a:gd name="T11" fmla="*/ 500 h 633"/>
                  <a:gd name="T12" fmla="*/ 142 w 505"/>
                  <a:gd name="T13" fmla="*/ 519 h 633"/>
                  <a:gd name="T14" fmla="*/ 190 w 505"/>
                  <a:gd name="T15" fmla="*/ 487 h 633"/>
                  <a:gd name="T16" fmla="*/ 0 w 505"/>
                  <a:gd name="T17" fmla="*/ 0 h 633"/>
                  <a:gd name="T18" fmla="*/ 146 w 505"/>
                  <a:gd name="T19" fmla="*/ 0 h 633"/>
                  <a:gd name="T20" fmla="*/ 256 w 505"/>
                  <a:gd name="T21" fmla="*/ 331 h 633"/>
                  <a:gd name="T22" fmla="*/ 362 w 505"/>
                  <a:gd name="T2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633">
                    <a:moveTo>
                      <a:pt x="362" y="0"/>
                    </a:moveTo>
                    <a:cubicBezTo>
                      <a:pt x="505" y="0"/>
                      <a:pt x="505" y="0"/>
                      <a:pt x="505" y="0"/>
                    </a:cubicBezTo>
                    <a:cubicBezTo>
                      <a:pt x="319" y="497"/>
                      <a:pt x="319" y="497"/>
                      <a:pt x="319" y="497"/>
                    </a:cubicBezTo>
                    <a:cubicBezTo>
                      <a:pt x="282" y="596"/>
                      <a:pt x="242" y="633"/>
                      <a:pt x="159" y="633"/>
                    </a:cubicBezTo>
                    <a:cubicBezTo>
                      <a:pt x="110" y="633"/>
                      <a:pt x="73" y="620"/>
                      <a:pt x="37" y="599"/>
                    </a:cubicBezTo>
                    <a:cubicBezTo>
                      <a:pt x="83" y="500"/>
                      <a:pt x="83" y="500"/>
                      <a:pt x="83" y="500"/>
                    </a:cubicBezTo>
                    <a:cubicBezTo>
                      <a:pt x="101" y="511"/>
                      <a:pt x="124" y="519"/>
                      <a:pt x="142" y="519"/>
                    </a:cubicBezTo>
                    <a:cubicBezTo>
                      <a:pt x="166" y="519"/>
                      <a:pt x="178" y="512"/>
                      <a:pt x="190" y="487"/>
                    </a:cubicBezTo>
                    <a:cubicBezTo>
                      <a:pt x="0" y="0"/>
                      <a:pt x="0" y="0"/>
                      <a:pt x="0" y="0"/>
                    </a:cubicBezTo>
                    <a:cubicBezTo>
                      <a:pt x="146" y="0"/>
                      <a:pt x="146" y="0"/>
                      <a:pt x="146" y="0"/>
                    </a:cubicBezTo>
                    <a:cubicBezTo>
                      <a:pt x="256" y="331"/>
                      <a:pt x="256" y="331"/>
                      <a:pt x="256" y="331"/>
                    </a:cubicBez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22">
                <a:extLst>
                  <a:ext uri="{FF2B5EF4-FFF2-40B4-BE49-F238E27FC236}">
                    <a16:creationId xmlns:a16="http://schemas.microsoft.com/office/drawing/2014/main" id="{ACC82ECF-72D6-6ED9-EF73-7495DE192F95}"/>
                  </a:ext>
                </a:extLst>
              </p:cNvPr>
              <p:cNvSpPr>
                <a:spLocks/>
              </p:cNvSpPr>
              <p:nvPr userDrawn="1"/>
            </p:nvSpPr>
            <p:spPr bwMode="auto">
              <a:xfrm>
                <a:off x="6005842" y="1258171"/>
                <a:ext cx="132541" cy="290348"/>
              </a:xfrm>
              <a:custGeom>
                <a:avLst/>
                <a:gdLst>
                  <a:gd name="T0" fmla="*/ 57 w 305"/>
                  <a:gd name="T1" fmla="*/ 299 h 667"/>
                  <a:gd name="T2" fmla="*/ 0 w 305"/>
                  <a:gd name="T3" fmla="*/ 299 h 667"/>
                  <a:gd name="T4" fmla="*/ 0 w 305"/>
                  <a:gd name="T5" fmla="*/ 186 h 667"/>
                  <a:gd name="T6" fmla="*/ 57 w 305"/>
                  <a:gd name="T7" fmla="*/ 186 h 667"/>
                  <a:gd name="T8" fmla="*/ 57 w 305"/>
                  <a:gd name="T9" fmla="*/ 155 h 667"/>
                  <a:gd name="T10" fmla="*/ 96 w 305"/>
                  <a:gd name="T11" fmla="*/ 38 h 667"/>
                  <a:gd name="T12" fmla="*/ 208 w 305"/>
                  <a:gd name="T13" fmla="*/ 0 h 667"/>
                  <a:gd name="T14" fmla="*/ 305 w 305"/>
                  <a:gd name="T15" fmla="*/ 13 h 667"/>
                  <a:gd name="T16" fmla="*/ 305 w 305"/>
                  <a:gd name="T17" fmla="*/ 127 h 667"/>
                  <a:gd name="T18" fmla="*/ 243 w 305"/>
                  <a:gd name="T19" fmla="*/ 115 h 667"/>
                  <a:gd name="T20" fmla="*/ 193 w 305"/>
                  <a:gd name="T21" fmla="*/ 168 h 667"/>
                  <a:gd name="T22" fmla="*/ 193 w 305"/>
                  <a:gd name="T23" fmla="*/ 187 h 667"/>
                  <a:gd name="T24" fmla="*/ 305 w 305"/>
                  <a:gd name="T25" fmla="*/ 187 h 667"/>
                  <a:gd name="T26" fmla="*/ 305 w 305"/>
                  <a:gd name="T27" fmla="*/ 299 h 667"/>
                  <a:gd name="T28" fmla="*/ 195 w 305"/>
                  <a:gd name="T29" fmla="*/ 299 h 667"/>
                  <a:gd name="T30" fmla="*/ 195 w 305"/>
                  <a:gd name="T31" fmla="*/ 667 h 667"/>
                  <a:gd name="T32" fmla="*/ 57 w 305"/>
                  <a:gd name="T33" fmla="*/ 667 h 667"/>
                  <a:gd name="T34" fmla="*/ 57 w 305"/>
                  <a:gd name="T35" fmla="*/ 29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667">
                    <a:moveTo>
                      <a:pt x="57" y="299"/>
                    </a:moveTo>
                    <a:cubicBezTo>
                      <a:pt x="0" y="299"/>
                      <a:pt x="0" y="299"/>
                      <a:pt x="0" y="299"/>
                    </a:cubicBezTo>
                    <a:cubicBezTo>
                      <a:pt x="0" y="186"/>
                      <a:pt x="0" y="186"/>
                      <a:pt x="0" y="186"/>
                    </a:cubicBezTo>
                    <a:cubicBezTo>
                      <a:pt x="57" y="186"/>
                      <a:pt x="57" y="186"/>
                      <a:pt x="57" y="186"/>
                    </a:cubicBezTo>
                    <a:cubicBezTo>
                      <a:pt x="57" y="155"/>
                      <a:pt x="57" y="155"/>
                      <a:pt x="57" y="155"/>
                    </a:cubicBezTo>
                    <a:cubicBezTo>
                      <a:pt x="57" y="102"/>
                      <a:pt x="71" y="63"/>
                      <a:pt x="96" y="38"/>
                    </a:cubicBezTo>
                    <a:cubicBezTo>
                      <a:pt x="122" y="12"/>
                      <a:pt x="159" y="0"/>
                      <a:pt x="208" y="0"/>
                    </a:cubicBezTo>
                    <a:cubicBezTo>
                      <a:pt x="251" y="0"/>
                      <a:pt x="280" y="5"/>
                      <a:pt x="305" y="13"/>
                    </a:cubicBezTo>
                    <a:cubicBezTo>
                      <a:pt x="305" y="127"/>
                      <a:pt x="305" y="127"/>
                      <a:pt x="305" y="127"/>
                    </a:cubicBezTo>
                    <a:cubicBezTo>
                      <a:pt x="286" y="120"/>
                      <a:pt x="267" y="115"/>
                      <a:pt x="243" y="115"/>
                    </a:cubicBezTo>
                    <a:cubicBezTo>
                      <a:pt x="211" y="115"/>
                      <a:pt x="193" y="132"/>
                      <a:pt x="193" y="168"/>
                    </a:cubicBezTo>
                    <a:cubicBezTo>
                      <a:pt x="193" y="187"/>
                      <a:pt x="193" y="187"/>
                      <a:pt x="193" y="187"/>
                    </a:cubicBezTo>
                    <a:cubicBezTo>
                      <a:pt x="305" y="187"/>
                      <a:pt x="305" y="187"/>
                      <a:pt x="305" y="187"/>
                    </a:cubicBezTo>
                    <a:cubicBezTo>
                      <a:pt x="305" y="299"/>
                      <a:pt x="305" y="299"/>
                      <a:pt x="305" y="299"/>
                    </a:cubicBezTo>
                    <a:cubicBezTo>
                      <a:pt x="195" y="299"/>
                      <a:pt x="195" y="299"/>
                      <a:pt x="195" y="299"/>
                    </a:cubicBezTo>
                    <a:cubicBezTo>
                      <a:pt x="195" y="667"/>
                      <a:pt x="195" y="667"/>
                      <a:pt x="195" y="667"/>
                    </a:cubicBezTo>
                    <a:cubicBezTo>
                      <a:pt x="57" y="667"/>
                      <a:pt x="57" y="667"/>
                      <a:pt x="57" y="667"/>
                    </a:cubicBezTo>
                    <a:lnTo>
                      <a:pt x="57"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23">
                <a:extLst>
                  <a:ext uri="{FF2B5EF4-FFF2-40B4-BE49-F238E27FC236}">
                    <a16:creationId xmlns:a16="http://schemas.microsoft.com/office/drawing/2014/main" id="{22DAB937-2E79-C195-4D0E-AD10E570DD17}"/>
                  </a:ext>
                </a:extLst>
              </p:cNvPr>
              <p:cNvSpPr>
                <a:spLocks noEditPoints="1"/>
              </p:cNvSpPr>
              <p:nvPr userDrawn="1"/>
            </p:nvSpPr>
            <p:spPr bwMode="auto">
              <a:xfrm>
                <a:off x="6137497" y="1333086"/>
                <a:ext cx="228289" cy="219867"/>
              </a:xfrm>
              <a:custGeom>
                <a:avLst/>
                <a:gdLst>
                  <a:gd name="T0" fmla="*/ 0 w 525"/>
                  <a:gd name="T1" fmla="*/ 255 h 506"/>
                  <a:gd name="T2" fmla="*/ 0 w 525"/>
                  <a:gd name="T3" fmla="*/ 253 h 506"/>
                  <a:gd name="T4" fmla="*/ 263 w 525"/>
                  <a:gd name="T5" fmla="*/ 0 h 506"/>
                  <a:gd name="T6" fmla="*/ 525 w 525"/>
                  <a:gd name="T7" fmla="*/ 251 h 506"/>
                  <a:gd name="T8" fmla="*/ 525 w 525"/>
                  <a:gd name="T9" fmla="*/ 253 h 506"/>
                  <a:gd name="T10" fmla="*/ 261 w 525"/>
                  <a:gd name="T11" fmla="*/ 506 h 506"/>
                  <a:gd name="T12" fmla="*/ 0 w 525"/>
                  <a:gd name="T13" fmla="*/ 255 h 506"/>
                  <a:gd name="T14" fmla="*/ 389 w 525"/>
                  <a:gd name="T15" fmla="*/ 255 h 506"/>
                  <a:gd name="T16" fmla="*/ 389 w 525"/>
                  <a:gd name="T17" fmla="*/ 253 h 506"/>
                  <a:gd name="T18" fmla="*/ 261 w 525"/>
                  <a:gd name="T19" fmla="*/ 119 h 506"/>
                  <a:gd name="T20" fmla="*/ 135 w 525"/>
                  <a:gd name="T21" fmla="*/ 251 h 506"/>
                  <a:gd name="T22" fmla="*/ 135 w 525"/>
                  <a:gd name="T23" fmla="*/ 253 h 506"/>
                  <a:gd name="T24" fmla="*/ 263 w 525"/>
                  <a:gd name="T25" fmla="*/ 387 h 506"/>
                  <a:gd name="T26" fmla="*/ 389 w 525"/>
                  <a:gd name="T27" fmla="*/ 25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6">
                    <a:moveTo>
                      <a:pt x="0" y="255"/>
                    </a:moveTo>
                    <a:cubicBezTo>
                      <a:pt x="0" y="253"/>
                      <a:pt x="0" y="253"/>
                      <a:pt x="0" y="253"/>
                    </a:cubicBezTo>
                    <a:cubicBezTo>
                      <a:pt x="0" y="114"/>
                      <a:pt x="112" y="0"/>
                      <a:pt x="263" y="0"/>
                    </a:cubicBezTo>
                    <a:cubicBezTo>
                      <a:pt x="413" y="0"/>
                      <a:pt x="525" y="112"/>
                      <a:pt x="525" y="251"/>
                    </a:cubicBezTo>
                    <a:cubicBezTo>
                      <a:pt x="525" y="253"/>
                      <a:pt x="525" y="253"/>
                      <a:pt x="525" y="253"/>
                    </a:cubicBezTo>
                    <a:cubicBezTo>
                      <a:pt x="525" y="392"/>
                      <a:pt x="412" y="506"/>
                      <a:pt x="261" y="506"/>
                    </a:cubicBezTo>
                    <a:cubicBezTo>
                      <a:pt x="111" y="506"/>
                      <a:pt x="0" y="394"/>
                      <a:pt x="0" y="255"/>
                    </a:cubicBezTo>
                    <a:close/>
                    <a:moveTo>
                      <a:pt x="389" y="255"/>
                    </a:moveTo>
                    <a:cubicBezTo>
                      <a:pt x="389" y="253"/>
                      <a:pt x="389" y="253"/>
                      <a:pt x="389" y="253"/>
                    </a:cubicBezTo>
                    <a:cubicBezTo>
                      <a:pt x="389" y="182"/>
                      <a:pt x="337" y="119"/>
                      <a:pt x="261" y="119"/>
                    </a:cubicBezTo>
                    <a:cubicBezTo>
                      <a:pt x="183" y="119"/>
                      <a:pt x="135" y="180"/>
                      <a:pt x="135" y="251"/>
                    </a:cubicBezTo>
                    <a:cubicBezTo>
                      <a:pt x="135" y="253"/>
                      <a:pt x="135" y="253"/>
                      <a:pt x="135" y="253"/>
                    </a:cubicBezTo>
                    <a:cubicBezTo>
                      <a:pt x="135" y="325"/>
                      <a:pt x="187" y="387"/>
                      <a:pt x="263" y="387"/>
                    </a:cubicBezTo>
                    <a:cubicBezTo>
                      <a:pt x="342" y="387"/>
                      <a:pt x="389" y="326"/>
                      <a:pt x="389"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24">
                <a:extLst>
                  <a:ext uri="{FF2B5EF4-FFF2-40B4-BE49-F238E27FC236}">
                    <a16:creationId xmlns:a16="http://schemas.microsoft.com/office/drawing/2014/main" id="{10B466F6-F9DE-C9E9-D98F-5CB17B8BE4DB}"/>
                  </a:ext>
                </a:extLst>
              </p:cNvPr>
              <p:cNvSpPr>
                <a:spLocks/>
              </p:cNvSpPr>
              <p:nvPr userDrawn="1"/>
            </p:nvSpPr>
            <p:spPr bwMode="auto">
              <a:xfrm>
                <a:off x="6379084" y="1331756"/>
                <a:ext cx="127665" cy="216764"/>
              </a:xfrm>
              <a:custGeom>
                <a:avLst/>
                <a:gdLst>
                  <a:gd name="T0" fmla="*/ 0 w 293"/>
                  <a:gd name="T1" fmla="*/ 13 h 498"/>
                  <a:gd name="T2" fmla="*/ 138 w 293"/>
                  <a:gd name="T3" fmla="*/ 13 h 498"/>
                  <a:gd name="T4" fmla="*/ 138 w 293"/>
                  <a:gd name="T5" fmla="*/ 110 h 498"/>
                  <a:gd name="T6" fmla="*/ 293 w 293"/>
                  <a:gd name="T7" fmla="*/ 3 h 498"/>
                  <a:gd name="T8" fmla="*/ 293 w 293"/>
                  <a:gd name="T9" fmla="*/ 147 h 498"/>
                  <a:gd name="T10" fmla="*/ 286 w 293"/>
                  <a:gd name="T11" fmla="*/ 147 h 498"/>
                  <a:gd name="T12" fmla="*/ 138 w 293"/>
                  <a:gd name="T13" fmla="*/ 318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0"/>
                      <a:pt x="138" y="110"/>
                      <a:pt x="138" y="110"/>
                    </a:cubicBezTo>
                    <a:cubicBezTo>
                      <a:pt x="166" y="43"/>
                      <a:pt x="211" y="0"/>
                      <a:pt x="293" y="3"/>
                    </a:cubicBezTo>
                    <a:cubicBezTo>
                      <a:pt x="293" y="147"/>
                      <a:pt x="293" y="147"/>
                      <a:pt x="293" y="147"/>
                    </a:cubicBezTo>
                    <a:cubicBezTo>
                      <a:pt x="286" y="147"/>
                      <a:pt x="286" y="147"/>
                      <a:pt x="286" y="147"/>
                    </a:cubicBezTo>
                    <a:cubicBezTo>
                      <a:pt x="194" y="147"/>
                      <a:pt x="138" y="203"/>
                      <a:pt x="138" y="318"/>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25">
                <a:extLst>
                  <a:ext uri="{FF2B5EF4-FFF2-40B4-BE49-F238E27FC236}">
                    <a16:creationId xmlns:a16="http://schemas.microsoft.com/office/drawing/2014/main" id="{AD3E18E3-90EA-4D54-E039-6221DAC55953}"/>
                  </a:ext>
                </a:extLst>
              </p:cNvPr>
              <p:cNvSpPr>
                <a:spLocks noEditPoints="1"/>
              </p:cNvSpPr>
              <p:nvPr userDrawn="1"/>
            </p:nvSpPr>
            <p:spPr bwMode="auto">
              <a:xfrm>
                <a:off x="6582993" y="1334859"/>
                <a:ext cx="194157" cy="217207"/>
              </a:xfrm>
              <a:custGeom>
                <a:avLst/>
                <a:gdLst>
                  <a:gd name="T0" fmla="*/ 0 w 446"/>
                  <a:gd name="T1" fmla="*/ 351 h 500"/>
                  <a:gd name="T2" fmla="*/ 0 w 446"/>
                  <a:gd name="T3" fmla="*/ 349 h 500"/>
                  <a:gd name="T4" fmla="*/ 195 w 446"/>
                  <a:gd name="T5" fmla="*/ 195 h 500"/>
                  <a:gd name="T6" fmla="*/ 314 w 446"/>
                  <a:gd name="T7" fmla="*/ 215 h 500"/>
                  <a:gd name="T8" fmla="*/ 314 w 446"/>
                  <a:gd name="T9" fmla="*/ 206 h 500"/>
                  <a:gd name="T10" fmla="*/ 210 w 446"/>
                  <a:gd name="T11" fmla="*/ 118 h 500"/>
                  <a:gd name="T12" fmla="*/ 76 w 446"/>
                  <a:gd name="T13" fmla="*/ 144 h 500"/>
                  <a:gd name="T14" fmla="*/ 42 w 446"/>
                  <a:gd name="T15" fmla="*/ 39 h 500"/>
                  <a:gd name="T16" fmla="*/ 230 w 446"/>
                  <a:gd name="T17" fmla="*/ 0 h 500"/>
                  <a:gd name="T18" fmla="*/ 394 w 446"/>
                  <a:gd name="T19" fmla="*/ 54 h 500"/>
                  <a:gd name="T20" fmla="*/ 446 w 446"/>
                  <a:gd name="T21" fmla="*/ 209 h 500"/>
                  <a:gd name="T22" fmla="*/ 446 w 446"/>
                  <a:gd name="T23" fmla="*/ 491 h 500"/>
                  <a:gd name="T24" fmla="*/ 313 w 446"/>
                  <a:gd name="T25" fmla="*/ 491 h 500"/>
                  <a:gd name="T26" fmla="*/ 313 w 446"/>
                  <a:gd name="T27" fmla="*/ 438 h 500"/>
                  <a:gd name="T28" fmla="*/ 167 w 446"/>
                  <a:gd name="T29" fmla="*/ 500 h 500"/>
                  <a:gd name="T30" fmla="*/ 0 w 446"/>
                  <a:gd name="T31" fmla="*/ 351 h 500"/>
                  <a:gd name="T32" fmla="*/ 316 w 446"/>
                  <a:gd name="T33" fmla="*/ 320 h 500"/>
                  <a:gd name="T34" fmla="*/ 316 w 446"/>
                  <a:gd name="T35" fmla="*/ 295 h 500"/>
                  <a:gd name="T36" fmla="*/ 228 w 446"/>
                  <a:gd name="T37" fmla="*/ 277 h 500"/>
                  <a:gd name="T38" fmla="*/ 133 w 446"/>
                  <a:gd name="T39" fmla="*/ 344 h 500"/>
                  <a:gd name="T40" fmla="*/ 133 w 446"/>
                  <a:gd name="T41" fmla="*/ 346 h 500"/>
                  <a:gd name="T42" fmla="*/ 208 w 446"/>
                  <a:gd name="T43" fmla="*/ 405 h 500"/>
                  <a:gd name="T44" fmla="*/ 316 w 446"/>
                  <a:gd name="T45" fmla="*/ 3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500">
                    <a:moveTo>
                      <a:pt x="0" y="351"/>
                    </a:moveTo>
                    <a:cubicBezTo>
                      <a:pt x="0" y="349"/>
                      <a:pt x="0" y="349"/>
                      <a:pt x="0" y="349"/>
                    </a:cubicBezTo>
                    <a:cubicBezTo>
                      <a:pt x="0" y="244"/>
                      <a:pt x="81" y="195"/>
                      <a:pt x="195" y="195"/>
                    </a:cubicBezTo>
                    <a:cubicBezTo>
                      <a:pt x="244" y="195"/>
                      <a:pt x="280" y="203"/>
                      <a:pt x="314" y="215"/>
                    </a:cubicBezTo>
                    <a:cubicBezTo>
                      <a:pt x="314" y="206"/>
                      <a:pt x="314" y="206"/>
                      <a:pt x="314" y="206"/>
                    </a:cubicBezTo>
                    <a:cubicBezTo>
                      <a:pt x="314" y="149"/>
                      <a:pt x="279" y="118"/>
                      <a:pt x="210" y="118"/>
                    </a:cubicBezTo>
                    <a:cubicBezTo>
                      <a:pt x="157" y="118"/>
                      <a:pt x="120" y="128"/>
                      <a:pt x="76" y="144"/>
                    </a:cubicBezTo>
                    <a:cubicBezTo>
                      <a:pt x="42" y="39"/>
                      <a:pt x="42" y="39"/>
                      <a:pt x="42" y="39"/>
                    </a:cubicBezTo>
                    <a:cubicBezTo>
                      <a:pt x="95" y="15"/>
                      <a:pt x="148" y="0"/>
                      <a:pt x="230" y="0"/>
                    </a:cubicBezTo>
                    <a:cubicBezTo>
                      <a:pt x="305" y="0"/>
                      <a:pt x="359" y="20"/>
                      <a:pt x="394" y="54"/>
                    </a:cubicBezTo>
                    <a:cubicBezTo>
                      <a:pt x="430" y="91"/>
                      <a:pt x="446" y="144"/>
                      <a:pt x="446" y="209"/>
                    </a:cubicBezTo>
                    <a:cubicBezTo>
                      <a:pt x="446" y="491"/>
                      <a:pt x="446" y="491"/>
                      <a:pt x="446" y="491"/>
                    </a:cubicBezTo>
                    <a:cubicBezTo>
                      <a:pt x="313" y="491"/>
                      <a:pt x="313" y="491"/>
                      <a:pt x="313" y="491"/>
                    </a:cubicBezTo>
                    <a:cubicBezTo>
                      <a:pt x="313" y="438"/>
                      <a:pt x="313" y="438"/>
                      <a:pt x="313" y="438"/>
                    </a:cubicBezTo>
                    <a:cubicBezTo>
                      <a:pt x="280" y="475"/>
                      <a:pt x="234" y="500"/>
                      <a:pt x="167" y="500"/>
                    </a:cubicBezTo>
                    <a:cubicBezTo>
                      <a:pt x="75" y="500"/>
                      <a:pt x="0" y="447"/>
                      <a:pt x="0" y="351"/>
                    </a:cubicBezTo>
                    <a:close/>
                    <a:moveTo>
                      <a:pt x="316" y="320"/>
                    </a:moveTo>
                    <a:cubicBezTo>
                      <a:pt x="316" y="295"/>
                      <a:pt x="316" y="295"/>
                      <a:pt x="316" y="295"/>
                    </a:cubicBezTo>
                    <a:cubicBezTo>
                      <a:pt x="292" y="284"/>
                      <a:pt x="262" y="277"/>
                      <a:pt x="228" y="277"/>
                    </a:cubicBezTo>
                    <a:cubicBezTo>
                      <a:pt x="169" y="277"/>
                      <a:pt x="133" y="301"/>
                      <a:pt x="133" y="344"/>
                    </a:cubicBezTo>
                    <a:cubicBezTo>
                      <a:pt x="133" y="346"/>
                      <a:pt x="133" y="346"/>
                      <a:pt x="133" y="346"/>
                    </a:cubicBezTo>
                    <a:cubicBezTo>
                      <a:pt x="133" y="383"/>
                      <a:pt x="164" y="405"/>
                      <a:pt x="208" y="405"/>
                    </a:cubicBezTo>
                    <a:cubicBezTo>
                      <a:pt x="272" y="405"/>
                      <a:pt x="316" y="369"/>
                      <a:pt x="31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Rectangle 26">
                <a:extLst>
                  <a:ext uri="{FF2B5EF4-FFF2-40B4-BE49-F238E27FC236}">
                    <a16:creationId xmlns:a16="http://schemas.microsoft.com/office/drawing/2014/main" id="{144E16EA-4F3F-420C-5D8D-753A1E9F0B11}"/>
                  </a:ext>
                </a:extLst>
              </p:cNvPr>
              <p:cNvSpPr>
                <a:spLocks noChangeArrowheads="1"/>
              </p:cNvSpPr>
              <p:nvPr userDrawn="1"/>
            </p:nvSpPr>
            <p:spPr bwMode="auto">
              <a:xfrm>
                <a:off x="6801973" y="1260831"/>
                <a:ext cx="59843"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Rectangle 27">
                <a:extLst>
                  <a:ext uri="{FF2B5EF4-FFF2-40B4-BE49-F238E27FC236}">
                    <a16:creationId xmlns:a16="http://schemas.microsoft.com/office/drawing/2014/main" id="{E009FD22-AB72-D26D-205F-29DF66B5BFFA}"/>
                  </a:ext>
                </a:extLst>
              </p:cNvPr>
              <p:cNvSpPr>
                <a:spLocks noChangeArrowheads="1"/>
              </p:cNvSpPr>
              <p:nvPr userDrawn="1"/>
            </p:nvSpPr>
            <p:spPr bwMode="auto">
              <a:xfrm>
                <a:off x="6886639" y="1260831"/>
                <a:ext cx="59399"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77" name="Rectangle 28">
              <a:extLst>
                <a:ext uri="{FF2B5EF4-FFF2-40B4-BE49-F238E27FC236}">
                  <a16:creationId xmlns:a16="http://schemas.microsoft.com/office/drawing/2014/main" id="{FB305569-AB33-7799-ED76-68F103CE5B8C}"/>
                </a:ext>
              </a:extLst>
            </p:cNvPr>
            <p:cNvSpPr>
              <a:spLocks noChangeArrowheads="1"/>
            </p:cNvSpPr>
            <p:nvPr userDrawn="1"/>
          </p:nvSpPr>
          <p:spPr bwMode="auto">
            <a:xfrm>
              <a:off x="11556230" y="767096"/>
              <a:ext cx="634181" cy="189869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grpSp>
          <p:nvGrpSpPr>
            <p:cNvPr id="78" name="Group 77">
              <a:extLst>
                <a:ext uri="{FF2B5EF4-FFF2-40B4-BE49-F238E27FC236}">
                  <a16:creationId xmlns:a16="http://schemas.microsoft.com/office/drawing/2014/main" id="{DC4D5431-76CB-4561-B2E0-664C3E75E88C}"/>
                </a:ext>
              </a:extLst>
            </p:cNvPr>
            <p:cNvGrpSpPr/>
            <p:nvPr userDrawn="1"/>
          </p:nvGrpSpPr>
          <p:grpSpPr>
            <a:xfrm>
              <a:off x="11701122" y="936748"/>
              <a:ext cx="321494" cy="1552800"/>
              <a:chOff x="7313961" y="501936"/>
              <a:chExt cx="323594" cy="1566108"/>
            </a:xfrm>
          </p:grpSpPr>
          <p:sp>
            <p:nvSpPr>
              <p:cNvPr id="79" name="Freeform 29">
                <a:extLst>
                  <a:ext uri="{FF2B5EF4-FFF2-40B4-BE49-F238E27FC236}">
                    <a16:creationId xmlns:a16="http://schemas.microsoft.com/office/drawing/2014/main" id="{9EB7EA56-59D4-7E58-E9A3-5C4585DF00FE}"/>
                  </a:ext>
                </a:extLst>
              </p:cNvPr>
              <p:cNvSpPr>
                <a:spLocks/>
              </p:cNvSpPr>
              <p:nvPr userDrawn="1"/>
            </p:nvSpPr>
            <p:spPr bwMode="auto">
              <a:xfrm>
                <a:off x="7383556" y="1311808"/>
                <a:ext cx="249567" cy="247350"/>
              </a:xfrm>
              <a:custGeom>
                <a:avLst/>
                <a:gdLst>
                  <a:gd name="T0" fmla="*/ 0 w 574"/>
                  <a:gd name="T1" fmla="*/ 229 h 569"/>
                  <a:gd name="T2" fmla="*/ 90 w 574"/>
                  <a:gd name="T3" fmla="*/ 413 h 569"/>
                  <a:gd name="T4" fmla="*/ 90 w 574"/>
                  <a:gd name="T5" fmla="*/ 413 h 569"/>
                  <a:gd name="T6" fmla="*/ 90 w 574"/>
                  <a:gd name="T7" fmla="*/ 413 h 569"/>
                  <a:gd name="T8" fmla="*/ 9 w 574"/>
                  <a:gd name="T9" fmla="*/ 413 h 569"/>
                  <a:gd name="T10" fmla="*/ 9 w 574"/>
                  <a:gd name="T11" fmla="*/ 569 h 569"/>
                  <a:gd name="T12" fmla="*/ 574 w 574"/>
                  <a:gd name="T13" fmla="*/ 569 h 569"/>
                  <a:gd name="T14" fmla="*/ 574 w 574"/>
                  <a:gd name="T15" fmla="*/ 413 h 569"/>
                  <a:gd name="T16" fmla="*/ 253 w 574"/>
                  <a:gd name="T17" fmla="*/ 413 h 569"/>
                  <a:gd name="T18" fmla="*/ 133 w 574"/>
                  <a:gd name="T19" fmla="*/ 286 h 569"/>
                  <a:gd name="T20" fmla="*/ 253 w 574"/>
                  <a:gd name="T21" fmla="*/ 155 h 569"/>
                  <a:gd name="T22" fmla="*/ 574 w 574"/>
                  <a:gd name="T23" fmla="*/ 155 h 569"/>
                  <a:gd name="T24" fmla="*/ 574 w 574"/>
                  <a:gd name="T25" fmla="*/ 0 h 569"/>
                  <a:gd name="T26" fmla="*/ 224 w 574"/>
                  <a:gd name="T27" fmla="*/ 0 h 569"/>
                  <a:gd name="T28" fmla="*/ 0 w 574"/>
                  <a:gd name="T29" fmla="*/ 22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569">
                    <a:moveTo>
                      <a:pt x="0" y="229"/>
                    </a:moveTo>
                    <a:cubicBezTo>
                      <a:pt x="0" y="294"/>
                      <a:pt x="30" y="368"/>
                      <a:pt x="90" y="413"/>
                    </a:cubicBezTo>
                    <a:cubicBezTo>
                      <a:pt x="90" y="413"/>
                      <a:pt x="90" y="413"/>
                      <a:pt x="90" y="413"/>
                    </a:cubicBezTo>
                    <a:cubicBezTo>
                      <a:pt x="90" y="413"/>
                      <a:pt x="90" y="413"/>
                      <a:pt x="90" y="413"/>
                    </a:cubicBezTo>
                    <a:cubicBezTo>
                      <a:pt x="9" y="413"/>
                      <a:pt x="9" y="413"/>
                      <a:pt x="9" y="413"/>
                    </a:cubicBezTo>
                    <a:cubicBezTo>
                      <a:pt x="9" y="569"/>
                      <a:pt x="9" y="569"/>
                      <a:pt x="9" y="569"/>
                    </a:cubicBezTo>
                    <a:cubicBezTo>
                      <a:pt x="574" y="569"/>
                      <a:pt x="574" y="569"/>
                      <a:pt x="574" y="569"/>
                    </a:cubicBezTo>
                    <a:cubicBezTo>
                      <a:pt x="574" y="413"/>
                      <a:pt x="574" y="413"/>
                      <a:pt x="574" y="413"/>
                    </a:cubicBezTo>
                    <a:cubicBezTo>
                      <a:pt x="253" y="413"/>
                      <a:pt x="253" y="413"/>
                      <a:pt x="253" y="413"/>
                    </a:cubicBezTo>
                    <a:cubicBezTo>
                      <a:pt x="195" y="413"/>
                      <a:pt x="133" y="369"/>
                      <a:pt x="133" y="286"/>
                    </a:cubicBezTo>
                    <a:cubicBezTo>
                      <a:pt x="133" y="221"/>
                      <a:pt x="178" y="155"/>
                      <a:pt x="253" y="155"/>
                    </a:cubicBezTo>
                    <a:cubicBezTo>
                      <a:pt x="574" y="155"/>
                      <a:pt x="574" y="155"/>
                      <a:pt x="574" y="155"/>
                    </a:cubicBezTo>
                    <a:cubicBezTo>
                      <a:pt x="574" y="0"/>
                      <a:pt x="574" y="0"/>
                      <a:pt x="574" y="0"/>
                    </a:cubicBezTo>
                    <a:cubicBezTo>
                      <a:pt x="224" y="0"/>
                      <a:pt x="224" y="0"/>
                      <a:pt x="224" y="0"/>
                    </a:cubicBezTo>
                    <a:cubicBezTo>
                      <a:pt x="94" y="0"/>
                      <a:pt x="0" y="93"/>
                      <a:pt x="0" y="2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30">
                <a:extLst>
                  <a:ext uri="{FF2B5EF4-FFF2-40B4-BE49-F238E27FC236}">
                    <a16:creationId xmlns:a16="http://schemas.microsoft.com/office/drawing/2014/main" id="{93B05BBE-DBEC-684B-B012-F63384131C10}"/>
                  </a:ext>
                </a:extLst>
              </p:cNvPr>
              <p:cNvSpPr>
                <a:spLocks/>
              </p:cNvSpPr>
              <p:nvPr userDrawn="1"/>
            </p:nvSpPr>
            <p:spPr bwMode="auto">
              <a:xfrm>
                <a:off x="7387546" y="755049"/>
                <a:ext cx="245577" cy="276163"/>
              </a:xfrm>
              <a:custGeom>
                <a:avLst/>
                <a:gdLst>
                  <a:gd name="T0" fmla="*/ 0 w 554"/>
                  <a:gd name="T1" fmla="*/ 174 h 623"/>
                  <a:gd name="T2" fmla="*/ 377 w 554"/>
                  <a:gd name="T3" fmla="*/ 311 h 623"/>
                  <a:gd name="T4" fmla="*/ 0 w 554"/>
                  <a:gd name="T5" fmla="*/ 450 h 623"/>
                  <a:gd name="T6" fmla="*/ 0 w 554"/>
                  <a:gd name="T7" fmla="*/ 623 h 623"/>
                  <a:gd name="T8" fmla="*/ 554 w 554"/>
                  <a:gd name="T9" fmla="*/ 395 h 623"/>
                  <a:gd name="T10" fmla="*/ 554 w 554"/>
                  <a:gd name="T11" fmla="*/ 228 h 623"/>
                  <a:gd name="T12" fmla="*/ 0 w 554"/>
                  <a:gd name="T13" fmla="*/ 0 h 623"/>
                  <a:gd name="T14" fmla="*/ 0 w 554"/>
                  <a:gd name="T15" fmla="*/ 174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623">
                    <a:moveTo>
                      <a:pt x="0" y="174"/>
                    </a:moveTo>
                    <a:lnTo>
                      <a:pt x="377" y="311"/>
                    </a:lnTo>
                    <a:lnTo>
                      <a:pt x="0" y="450"/>
                    </a:lnTo>
                    <a:lnTo>
                      <a:pt x="0" y="623"/>
                    </a:lnTo>
                    <a:lnTo>
                      <a:pt x="554" y="395"/>
                    </a:lnTo>
                    <a:lnTo>
                      <a:pt x="554" y="228"/>
                    </a:lnTo>
                    <a:lnTo>
                      <a:pt x="0" y="0"/>
                    </a:lnTo>
                    <a:lnTo>
                      <a:pt x="0"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Freeform 31">
                <a:extLst>
                  <a:ext uri="{FF2B5EF4-FFF2-40B4-BE49-F238E27FC236}">
                    <a16:creationId xmlns:a16="http://schemas.microsoft.com/office/drawing/2014/main" id="{972F0292-22E7-DDB2-79F6-6703AF74768F}"/>
                  </a:ext>
                </a:extLst>
              </p:cNvPr>
              <p:cNvSpPr>
                <a:spLocks noEditPoints="1"/>
              </p:cNvSpPr>
              <p:nvPr userDrawn="1"/>
            </p:nvSpPr>
            <p:spPr bwMode="auto">
              <a:xfrm>
                <a:off x="7383556" y="1583096"/>
                <a:ext cx="253999" cy="256659"/>
              </a:xfrm>
              <a:custGeom>
                <a:avLst/>
                <a:gdLst>
                  <a:gd name="T0" fmla="*/ 401 w 584"/>
                  <a:gd name="T1" fmla="*/ 110 h 590"/>
                  <a:gd name="T2" fmla="*/ 460 w 584"/>
                  <a:gd name="T3" fmla="*/ 272 h 590"/>
                  <a:gd name="T4" fmla="*/ 415 w 584"/>
                  <a:gd name="T5" fmla="*/ 397 h 590"/>
                  <a:gd name="T6" fmla="*/ 250 w 584"/>
                  <a:gd name="T7" fmla="*/ 0 h 590"/>
                  <a:gd name="T8" fmla="*/ 92 w 584"/>
                  <a:gd name="T9" fmla="*/ 68 h 590"/>
                  <a:gd name="T10" fmla="*/ 0 w 584"/>
                  <a:gd name="T11" fmla="*/ 291 h 590"/>
                  <a:gd name="T12" fmla="*/ 292 w 584"/>
                  <a:gd name="T13" fmla="*/ 590 h 590"/>
                  <a:gd name="T14" fmla="*/ 584 w 584"/>
                  <a:gd name="T15" fmla="*/ 274 h 590"/>
                  <a:gd name="T16" fmla="*/ 476 w 584"/>
                  <a:gd name="T17" fmla="*/ 12 h 590"/>
                  <a:gd name="T18" fmla="*/ 401 w 584"/>
                  <a:gd name="T19" fmla="*/ 110 h 590"/>
                  <a:gd name="T20" fmla="*/ 179 w 584"/>
                  <a:gd name="T21" fmla="*/ 408 h 590"/>
                  <a:gd name="T22" fmla="*/ 123 w 584"/>
                  <a:gd name="T23" fmla="*/ 288 h 590"/>
                  <a:gd name="T24" fmla="*/ 202 w 584"/>
                  <a:gd name="T25" fmla="*/ 168 h 590"/>
                  <a:gd name="T26" fmla="*/ 315 w 584"/>
                  <a:gd name="T27" fmla="*/ 439 h 590"/>
                  <a:gd name="T28" fmla="*/ 179 w 584"/>
                  <a:gd name="T29" fmla="*/ 40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4" h="590">
                    <a:moveTo>
                      <a:pt x="401" y="110"/>
                    </a:moveTo>
                    <a:cubicBezTo>
                      <a:pt x="449" y="175"/>
                      <a:pt x="460" y="212"/>
                      <a:pt x="460" y="272"/>
                    </a:cubicBezTo>
                    <a:cubicBezTo>
                      <a:pt x="460" y="325"/>
                      <a:pt x="444" y="367"/>
                      <a:pt x="415" y="397"/>
                    </a:cubicBezTo>
                    <a:cubicBezTo>
                      <a:pt x="250" y="0"/>
                      <a:pt x="250" y="0"/>
                      <a:pt x="250" y="0"/>
                    </a:cubicBezTo>
                    <a:cubicBezTo>
                      <a:pt x="189" y="9"/>
                      <a:pt x="134" y="32"/>
                      <a:pt x="92" y="68"/>
                    </a:cubicBezTo>
                    <a:cubicBezTo>
                      <a:pt x="32" y="120"/>
                      <a:pt x="0" y="197"/>
                      <a:pt x="0" y="291"/>
                    </a:cubicBezTo>
                    <a:cubicBezTo>
                      <a:pt x="0" y="462"/>
                      <a:pt x="126" y="590"/>
                      <a:pt x="292" y="590"/>
                    </a:cubicBezTo>
                    <a:cubicBezTo>
                      <a:pt x="462" y="590"/>
                      <a:pt x="584" y="462"/>
                      <a:pt x="584" y="274"/>
                    </a:cubicBezTo>
                    <a:cubicBezTo>
                      <a:pt x="584" y="169"/>
                      <a:pt x="534" y="62"/>
                      <a:pt x="476" y="12"/>
                    </a:cubicBezTo>
                    <a:lnTo>
                      <a:pt x="401" y="110"/>
                    </a:lnTo>
                    <a:close/>
                    <a:moveTo>
                      <a:pt x="179" y="408"/>
                    </a:moveTo>
                    <a:cubicBezTo>
                      <a:pt x="144" y="381"/>
                      <a:pt x="123" y="339"/>
                      <a:pt x="123" y="288"/>
                    </a:cubicBezTo>
                    <a:cubicBezTo>
                      <a:pt x="123" y="232"/>
                      <a:pt x="155" y="190"/>
                      <a:pt x="202" y="168"/>
                    </a:cubicBezTo>
                    <a:cubicBezTo>
                      <a:pt x="315" y="439"/>
                      <a:pt x="315" y="439"/>
                      <a:pt x="315" y="439"/>
                    </a:cubicBezTo>
                    <a:cubicBezTo>
                      <a:pt x="257" y="447"/>
                      <a:pt x="212" y="432"/>
                      <a:pt x="179" y="4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Freeform 32">
                <a:extLst>
                  <a:ext uri="{FF2B5EF4-FFF2-40B4-BE49-F238E27FC236}">
                    <a16:creationId xmlns:a16="http://schemas.microsoft.com/office/drawing/2014/main" id="{8FB3E4DF-D685-E83E-C831-3D30D6486411}"/>
                  </a:ext>
                </a:extLst>
              </p:cNvPr>
              <p:cNvSpPr>
                <a:spLocks/>
              </p:cNvSpPr>
              <p:nvPr userDrawn="1"/>
            </p:nvSpPr>
            <p:spPr bwMode="auto">
              <a:xfrm>
                <a:off x="7313961" y="1846404"/>
                <a:ext cx="319161" cy="221640"/>
              </a:xfrm>
              <a:custGeom>
                <a:avLst/>
                <a:gdLst>
                  <a:gd name="T0" fmla="*/ 580 w 720"/>
                  <a:gd name="T1" fmla="*/ 0 h 500"/>
                  <a:gd name="T2" fmla="*/ 580 w 720"/>
                  <a:gd name="T3" fmla="*/ 346 h 500"/>
                  <a:gd name="T4" fmla="*/ 0 w 720"/>
                  <a:gd name="T5" fmla="*/ 346 h 500"/>
                  <a:gd name="T6" fmla="*/ 0 w 720"/>
                  <a:gd name="T7" fmla="*/ 500 h 500"/>
                  <a:gd name="T8" fmla="*/ 720 w 720"/>
                  <a:gd name="T9" fmla="*/ 500 h 500"/>
                  <a:gd name="T10" fmla="*/ 720 w 720"/>
                  <a:gd name="T11" fmla="*/ 0 h 500"/>
                  <a:gd name="T12" fmla="*/ 580 w 720"/>
                  <a:gd name="T13" fmla="*/ 0 h 500"/>
                </a:gdLst>
                <a:ahLst/>
                <a:cxnLst>
                  <a:cxn ang="0">
                    <a:pos x="T0" y="T1"/>
                  </a:cxn>
                  <a:cxn ang="0">
                    <a:pos x="T2" y="T3"/>
                  </a:cxn>
                  <a:cxn ang="0">
                    <a:pos x="T4" y="T5"/>
                  </a:cxn>
                  <a:cxn ang="0">
                    <a:pos x="T6" y="T7"/>
                  </a:cxn>
                  <a:cxn ang="0">
                    <a:pos x="T8" y="T9"/>
                  </a:cxn>
                  <a:cxn ang="0">
                    <a:pos x="T10" y="T11"/>
                  </a:cxn>
                  <a:cxn ang="0">
                    <a:pos x="T12" y="T13"/>
                  </a:cxn>
                </a:cxnLst>
                <a:rect l="0" t="0" r="r" b="b"/>
                <a:pathLst>
                  <a:path w="720" h="500">
                    <a:moveTo>
                      <a:pt x="580" y="0"/>
                    </a:moveTo>
                    <a:lnTo>
                      <a:pt x="580" y="346"/>
                    </a:lnTo>
                    <a:lnTo>
                      <a:pt x="0" y="346"/>
                    </a:lnTo>
                    <a:lnTo>
                      <a:pt x="0" y="500"/>
                    </a:lnTo>
                    <a:lnTo>
                      <a:pt x="720" y="500"/>
                    </a:lnTo>
                    <a:lnTo>
                      <a:pt x="720" y="0"/>
                    </a:lnTo>
                    <a:lnTo>
                      <a:pt x="5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33">
                <a:extLst>
                  <a:ext uri="{FF2B5EF4-FFF2-40B4-BE49-F238E27FC236}">
                    <a16:creationId xmlns:a16="http://schemas.microsoft.com/office/drawing/2014/main" id="{7E51460F-8A6D-E455-ADF5-BF3600A7DAC9}"/>
                  </a:ext>
                </a:extLst>
              </p:cNvPr>
              <p:cNvSpPr>
                <a:spLocks noEditPoints="1"/>
              </p:cNvSpPr>
              <p:nvPr userDrawn="1"/>
            </p:nvSpPr>
            <p:spPr bwMode="auto">
              <a:xfrm>
                <a:off x="7383556" y="501936"/>
                <a:ext cx="253999" cy="263752"/>
              </a:xfrm>
              <a:custGeom>
                <a:avLst/>
                <a:gdLst>
                  <a:gd name="T0" fmla="*/ 584 w 584"/>
                  <a:gd name="T1" fmla="*/ 304 h 607"/>
                  <a:gd name="T2" fmla="*/ 292 w 584"/>
                  <a:gd name="T3" fmla="*/ 607 h 607"/>
                  <a:gd name="T4" fmla="*/ 0 w 584"/>
                  <a:gd name="T5" fmla="*/ 302 h 607"/>
                  <a:gd name="T6" fmla="*/ 292 w 584"/>
                  <a:gd name="T7" fmla="*/ 0 h 607"/>
                  <a:gd name="T8" fmla="*/ 584 w 584"/>
                  <a:gd name="T9" fmla="*/ 304 h 607"/>
                  <a:gd name="T10" fmla="*/ 133 w 584"/>
                  <a:gd name="T11" fmla="*/ 304 h 607"/>
                  <a:gd name="T12" fmla="*/ 292 w 584"/>
                  <a:gd name="T13" fmla="*/ 454 h 607"/>
                  <a:gd name="T14" fmla="*/ 451 w 584"/>
                  <a:gd name="T15" fmla="*/ 302 h 607"/>
                  <a:gd name="T16" fmla="*/ 292 w 584"/>
                  <a:gd name="T17" fmla="*/ 153 h 607"/>
                  <a:gd name="T18" fmla="*/ 133 w 584"/>
                  <a:gd name="T19" fmla="*/ 30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4"/>
                    </a:moveTo>
                    <a:cubicBezTo>
                      <a:pt x="584" y="474"/>
                      <a:pt x="457" y="607"/>
                      <a:pt x="292" y="607"/>
                    </a:cubicBezTo>
                    <a:cubicBezTo>
                      <a:pt x="128" y="607"/>
                      <a:pt x="0" y="473"/>
                      <a:pt x="0" y="302"/>
                    </a:cubicBezTo>
                    <a:cubicBezTo>
                      <a:pt x="0" y="133"/>
                      <a:pt x="126" y="0"/>
                      <a:pt x="292" y="0"/>
                    </a:cubicBezTo>
                    <a:cubicBezTo>
                      <a:pt x="455" y="0"/>
                      <a:pt x="584" y="133"/>
                      <a:pt x="584" y="304"/>
                    </a:cubicBezTo>
                    <a:moveTo>
                      <a:pt x="133" y="304"/>
                    </a:moveTo>
                    <a:cubicBezTo>
                      <a:pt x="133" y="391"/>
                      <a:pt x="198" y="454"/>
                      <a:pt x="292" y="454"/>
                    </a:cubicBezTo>
                    <a:cubicBezTo>
                      <a:pt x="381" y="454"/>
                      <a:pt x="451" y="387"/>
                      <a:pt x="451" y="302"/>
                    </a:cubicBezTo>
                    <a:cubicBezTo>
                      <a:pt x="451" y="216"/>
                      <a:pt x="383" y="153"/>
                      <a:pt x="292" y="153"/>
                    </a:cubicBezTo>
                    <a:cubicBezTo>
                      <a:pt x="203" y="153"/>
                      <a:pt x="133" y="219"/>
                      <a:pt x="133" y="3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34">
                <a:extLst>
                  <a:ext uri="{FF2B5EF4-FFF2-40B4-BE49-F238E27FC236}">
                    <a16:creationId xmlns:a16="http://schemas.microsoft.com/office/drawing/2014/main" id="{9296505E-2DA9-07F7-31C5-6D802244B0F4}"/>
                  </a:ext>
                </a:extLst>
              </p:cNvPr>
              <p:cNvSpPr>
                <a:spLocks noEditPoints="1"/>
              </p:cNvSpPr>
              <p:nvPr userDrawn="1"/>
            </p:nvSpPr>
            <p:spPr bwMode="auto">
              <a:xfrm>
                <a:off x="7383556" y="1021017"/>
                <a:ext cx="253999" cy="263752"/>
              </a:xfrm>
              <a:custGeom>
                <a:avLst/>
                <a:gdLst>
                  <a:gd name="T0" fmla="*/ 584 w 584"/>
                  <a:gd name="T1" fmla="*/ 305 h 607"/>
                  <a:gd name="T2" fmla="*/ 292 w 584"/>
                  <a:gd name="T3" fmla="*/ 607 h 607"/>
                  <a:gd name="T4" fmla="*/ 0 w 584"/>
                  <a:gd name="T5" fmla="*/ 303 h 607"/>
                  <a:gd name="T6" fmla="*/ 292 w 584"/>
                  <a:gd name="T7" fmla="*/ 0 h 607"/>
                  <a:gd name="T8" fmla="*/ 584 w 584"/>
                  <a:gd name="T9" fmla="*/ 305 h 607"/>
                  <a:gd name="T10" fmla="*/ 133 w 584"/>
                  <a:gd name="T11" fmla="*/ 305 h 607"/>
                  <a:gd name="T12" fmla="*/ 292 w 584"/>
                  <a:gd name="T13" fmla="*/ 454 h 607"/>
                  <a:gd name="T14" fmla="*/ 451 w 584"/>
                  <a:gd name="T15" fmla="*/ 303 h 607"/>
                  <a:gd name="T16" fmla="*/ 292 w 584"/>
                  <a:gd name="T17" fmla="*/ 153 h 607"/>
                  <a:gd name="T18" fmla="*/ 133 w 584"/>
                  <a:gd name="T19" fmla="*/ 3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5"/>
                    </a:moveTo>
                    <a:cubicBezTo>
                      <a:pt x="584" y="474"/>
                      <a:pt x="457" y="607"/>
                      <a:pt x="292" y="607"/>
                    </a:cubicBezTo>
                    <a:cubicBezTo>
                      <a:pt x="128" y="607"/>
                      <a:pt x="0" y="474"/>
                      <a:pt x="0" y="303"/>
                    </a:cubicBezTo>
                    <a:cubicBezTo>
                      <a:pt x="0" y="133"/>
                      <a:pt x="126" y="0"/>
                      <a:pt x="292" y="0"/>
                    </a:cubicBezTo>
                    <a:cubicBezTo>
                      <a:pt x="455" y="0"/>
                      <a:pt x="584" y="134"/>
                      <a:pt x="584" y="305"/>
                    </a:cubicBezTo>
                    <a:moveTo>
                      <a:pt x="133" y="305"/>
                    </a:moveTo>
                    <a:cubicBezTo>
                      <a:pt x="133" y="391"/>
                      <a:pt x="198" y="454"/>
                      <a:pt x="292" y="454"/>
                    </a:cubicBezTo>
                    <a:cubicBezTo>
                      <a:pt x="381" y="454"/>
                      <a:pt x="451" y="388"/>
                      <a:pt x="451" y="303"/>
                    </a:cubicBezTo>
                    <a:cubicBezTo>
                      <a:pt x="451" y="216"/>
                      <a:pt x="383" y="153"/>
                      <a:pt x="292" y="153"/>
                    </a:cubicBezTo>
                    <a:cubicBezTo>
                      <a:pt x="203" y="153"/>
                      <a:pt x="133" y="220"/>
                      <a:pt x="133" y="3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Tree>
    <p:extLst>
      <p:ext uri="{BB962C8B-B14F-4D97-AF65-F5344CB8AC3E}">
        <p14:creationId xmlns:p14="http://schemas.microsoft.com/office/powerpoint/2010/main" val="3614857221"/>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3_Title Slide_Black_Alt">
    <p:bg>
      <p:bgPr>
        <a:solidFill>
          <a:schemeClr val="bg1"/>
        </a:solidFill>
        <a:effectLst/>
      </p:bgPr>
    </p:bg>
    <p:spTree>
      <p:nvGrpSpPr>
        <p:cNvPr id="1" name=""/>
        <p:cNvGrpSpPr/>
        <p:nvPr/>
      </p:nvGrpSpPr>
      <p:grpSpPr>
        <a:xfrm>
          <a:off x="0" y="0"/>
          <a:ext cx="0" cy="0"/>
          <a:chOff x="0" y="0"/>
          <a:chExt cx="0" cy="0"/>
        </a:xfrm>
      </p:grpSpPr>
      <p:pic>
        <p:nvPicPr>
          <p:cNvPr id="7" name="Picture 6" descr="A purple and red circle&#10;&#10;Description automatically generated">
            <a:extLst>
              <a:ext uri="{FF2B5EF4-FFF2-40B4-BE49-F238E27FC236}">
                <a16:creationId xmlns:a16="http://schemas.microsoft.com/office/drawing/2014/main" id="{01ACF7A9-A0CF-8B7C-CB95-825DDB4DCE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461" y="-2645"/>
            <a:ext cx="6859786" cy="6858000"/>
          </a:xfrm>
          <a:prstGeom prst="rect">
            <a:avLst/>
          </a:prstGeom>
        </p:spPr>
      </p:pic>
      <p:sp>
        <p:nvSpPr>
          <p:cNvPr id="17" name="Title 28">
            <a:extLst>
              <a:ext uri="{FF2B5EF4-FFF2-40B4-BE49-F238E27FC236}">
                <a16:creationId xmlns:a16="http://schemas.microsoft.com/office/drawing/2014/main" id="{A10430B7-815B-5444-6D8C-16018C64B455}"/>
              </a:ext>
            </a:extLst>
          </p:cNvPr>
          <p:cNvSpPr>
            <a:spLocks noGrp="1"/>
          </p:cNvSpPr>
          <p:nvPr>
            <p:ph type="title" hasCustomPrompt="1"/>
          </p:nvPr>
        </p:nvSpPr>
        <p:spPr bwMode="gray">
          <a:xfrm>
            <a:off x="760611" y="442528"/>
            <a:ext cx="5335389" cy="1205798"/>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6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19" name="Slide Number Placeholder 11">
            <a:extLst>
              <a:ext uri="{FF2B5EF4-FFF2-40B4-BE49-F238E27FC236}">
                <a16:creationId xmlns:a16="http://schemas.microsoft.com/office/drawing/2014/main" id="{95560E1F-A347-E20A-5030-44FC868CD363}"/>
              </a:ext>
            </a:extLst>
          </p:cNvPr>
          <p:cNvSpPr>
            <a:spLocks noGrp="1"/>
          </p:cNvSpPr>
          <p:nvPr>
            <p:ph type="sldNum" sz="quarter" idx="20"/>
          </p:nvPr>
        </p:nvSpPr>
        <p:spPr>
          <a:xfrm>
            <a:off x="11672569" y="6400800"/>
            <a:ext cx="439026" cy="155448"/>
          </a:xfrm>
          <a:prstGeom prst="rect">
            <a:avLst/>
          </a:prstGeom>
        </p:spPr>
        <p:txBody>
          <a:bodyPr vert="horz" lIns="0" tIns="0" rIns="0" bIns="0" rtlCol="0" anchor="ctr"/>
          <a:lstStyle>
            <a:defPPr>
              <a:defRPr lang="en-US"/>
            </a:defPPr>
            <a:lvl1pPr marL="0" algn="ctr" defTabSz="1218987"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D22F896-40B5-4ADD-8801-0D06FADFA095}" type="slidenum">
              <a:rPr lang="en-US" smtClean="0"/>
              <a:pPr/>
              <a:t>‹#›</a:t>
            </a:fld>
            <a:endParaRPr lang="en-US"/>
          </a:p>
        </p:txBody>
      </p:sp>
      <p:grpSp>
        <p:nvGrpSpPr>
          <p:cNvPr id="4" name="Group 3">
            <a:extLst>
              <a:ext uri="{FF2B5EF4-FFF2-40B4-BE49-F238E27FC236}">
                <a16:creationId xmlns:a16="http://schemas.microsoft.com/office/drawing/2014/main" id="{58DA076C-834C-BBEC-761B-8E1D63801108}"/>
              </a:ext>
              <a:ext uri="{C183D7F6-B498-43B3-948B-1728B52AA6E4}">
                <adec:decorative xmlns:adec="http://schemas.microsoft.com/office/drawing/2017/decorative" val="1"/>
              </a:ext>
            </a:extLst>
          </p:cNvPr>
          <p:cNvGrpSpPr/>
          <p:nvPr userDrawn="1"/>
        </p:nvGrpSpPr>
        <p:grpSpPr>
          <a:xfrm>
            <a:off x="760611" y="6348283"/>
            <a:ext cx="3394460" cy="259316"/>
            <a:chOff x="760413" y="6348283"/>
            <a:chExt cx="3393576" cy="259316"/>
          </a:xfrm>
        </p:grpSpPr>
        <p:sp>
          <p:nvSpPr>
            <p:cNvPr id="5" name="TextBox 4">
              <a:extLst>
                <a:ext uri="{FF2B5EF4-FFF2-40B4-BE49-F238E27FC236}">
                  <a16:creationId xmlns:a16="http://schemas.microsoft.com/office/drawing/2014/main" id="{B287321C-B680-53CD-217C-C996A8AAE57A}"/>
                </a:ext>
              </a:extLst>
            </p:cNvPr>
            <p:cNvSpPr txBox="1"/>
            <p:nvPr/>
          </p:nvSpPr>
          <p:spPr>
            <a:xfrm>
              <a:off x="1602289" y="6401580"/>
              <a:ext cx="2551700" cy="138499"/>
            </a:xfrm>
            <a:prstGeom prst="rect">
              <a:avLst/>
            </a:prstGeom>
            <a:noFill/>
          </p:spPr>
          <p:txBody>
            <a:bodyPr wrap="square" lIns="0" tIns="0" rIns="0" bIns="0" rtlCol="0">
              <a:spAutoFit/>
            </a:bodyPr>
            <a:lstStyle/>
            <a:p>
              <a:r>
                <a:rPr lang="en-US" sz="900">
                  <a:solidFill>
                    <a:schemeClr val="bg1"/>
                  </a:solidFill>
                  <a:latin typeface="Arial" pitchFamily="34" charset="0"/>
                  <a:cs typeface="Arial" pitchFamily="34" charset="0"/>
                </a:rPr>
                <a:t>2025 Lenovo internal. All rights reserved.</a:t>
              </a:r>
            </a:p>
          </p:txBody>
        </p:sp>
        <p:grpSp>
          <p:nvGrpSpPr>
            <p:cNvPr id="6" name="Group 5">
              <a:extLst>
                <a:ext uri="{FF2B5EF4-FFF2-40B4-BE49-F238E27FC236}">
                  <a16:creationId xmlns:a16="http://schemas.microsoft.com/office/drawing/2014/main" id="{67495B85-FCB2-F654-2FA7-3B953478B67B}"/>
                </a:ext>
              </a:extLst>
            </p:cNvPr>
            <p:cNvGrpSpPr>
              <a:grpSpLocks noChangeAspect="1"/>
            </p:cNvGrpSpPr>
            <p:nvPr/>
          </p:nvGrpSpPr>
          <p:grpSpPr>
            <a:xfrm>
              <a:off x="760413" y="6348283"/>
              <a:ext cx="777240" cy="259316"/>
              <a:chOff x="547688" y="952500"/>
              <a:chExt cx="12190413" cy="4067175"/>
            </a:xfrm>
          </p:grpSpPr>
          <p:sp>
            <p:nvSpPr>
              <p:cNvPr id="8" name="Rectangle 7">
                <a:extLst>
                  <a:ext uri="{FF2B5EF4-FFF2-40B4-BE49-F238E27FC236}">
                    <a16:creationId xmlns:a16="http://schemas.microsoft.com/office/drawing/2014/main" id="{D8D03AC6-4E5A-5862-A82B-B0A269CE8B0A}"/>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8">
                <a:extLst>
                  <a:ext uri="{FF2B5EF4-FFF2-40B4-BE49-F238E27FC236}">
                    <a16:creationId xmlns:a16="http://schemas.microsoft.com/office/drawing/2014/main" id="{B7429AE7-344F-1B26-3618-20B00A017E35}"/>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9">
                <a:extLst>
                  <a:ext uri="{FF2B5EF4-FFF2-40B4-BE49-F238E27FC236}">
                    <a16:creationId xmlns:a16="http://schemas.microsoft.com/office/drawing/2014/main" id="{1E2CCC84-754C-3DD6-A4F2-CB29CA5D8E3B}"/>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10">
                <a:extLst>
                  <a:ext uri="{FF2B5EF4-FFF2-40B4-BE49-F238E27FC236}">
                    <a16:creationId xmlns:a16="http://schemas.microsoft.com/office/drawing/2014/main" id="{30ECB53A-889A-3B86-6F2B-72E6F8943706}"/>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1">
                <a:extLst>
                  <a:ext uri="{FF2B5EF4-FFF2-40B4-BE49-F238E27FC236}">
                    <a16:creationId xmlns:a16="http://schemas.microsoft.com/office/drawing/2014/main" id="{DB23369A-28AC-EE81-2950-0E191C37E5A5}"/>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0">
                <a:extLst>
                  <a:ext uri="{FF2B5EF4-FFF2-40B4-BE49-F238E27FC236}">
                    <a16:creationId xmlns:a16="http://schemas.microsoft.com/office/drawing/2014/main" id="{F79E3AD5-D260-C17C-3550-3EFC2E93E2B0}"/>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11">
                <a:extLst>
                  <a:ext uri="{FF2B5EF4-FFF2-40B4-BE49-F238E27FC236}">
                    <a16:creationId xmlns:a16="http://schemas.microsoft.com/office/drawing/2014/main" id="{BE8D135E-ECF1-6C7C-4934-497C0B7C194F}"/>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
        <p:nvSpPr>
          <p:cNvPr id="26" name="TextBox 25">
            <a:extLst>
              <a:ext uri="{FF2B5EF4-FFF2-40B4-BE49-F238E27FC236}">
                <a16:creationId xmlns:a16="http://schemas.microsoft.com/office/drawing/2014/main" id="{500E6B2A-8030-49E0-1C15-4DAE1BBF4DAE}"/>
              </a:ext>
            </a:extLst>
          </p:cNvPr>
          <p:cNvSpPr txBox="1"/>
          <p:nvPr userDrawn="1"/>
        </p:nvSpPr>
        <p:spPr>
          <a:xfrm>
            <a:off x="9622497" y="6360568"/>
            <a:ext cx="1919240" cy="230832"/>
          </a:xfrm>
          <a:prstGeom prst="rect">
            <a:avLst/>
          </a:prstGeom>
          <a:noFill/>
        </p:spPr>
        <p:txBody>
          <a:bodyPr wrap="square" rtlCol="0">
            <a:spAutoFit/>
          </a:bodyPr>
          <a:lstStyle/>
          <a:p>
            <a:pPr algn="r"/>
            <a:r>
              <a:rPr lang="en-US" sz="900">
                <a:solidFill>
                  <a:schemeClr val="tx1"/>
                </a:solidFill>
                <a:latin typeface="Arial" panose="020B0604020202020204" pitchFamily="34" charset="0"/>
                <a:cs typeface="Arial" panose="020B0604020202020204" pitchFamily="34" charset="0"/>
              </a:rPr>
              <a:t>FOR INTERNAL USE ONLY</a:t>
            </a:r>
          </a:p>
        </p:txBody>
      </p:sp>
    </p:spTree>
    <p:extLst>
      <p:ext uri="{BB962C8B-B14F-4D97-AF65-F5344CB8AC3E}">
        <p14:creationId xmlns:p14="http://schemas.microsoft.com/office/powerpoint/2010/main" val="120679002"/>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8_Title Only_Black">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AC98CC-99A7-60B3-D2EF-46280A36A0FF}"/>
              </a:ext>
              <a:ext uri="{C183D7F6-B498-43B3-948B-1728B52AA6E4}">
                <adec:decorative xmlns:adec="http://schemas.microsoft.com/office/drawing/2017/decorative" val="1"/>
              </a:ext>
            </a:extLst>
          </p:cNvPr>
          <p:cNvSpPr/>
          <p:nvPr userDrawn="1"/>
        </p:nvSpPr>
        <p:spPr>
          <a:xfrm flipV="1">
            <a:off x="1" y="2"/>
            <a:ext cx="4185673" cy="6857999"/>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182832" rIns="182832" bIns="182832" rtlCol="0" anchor="t"/>
          <a:lstStyle/>
          <a:p>
            <a:pPr defTabSz="1218621"/>
            <a:endParaRPr lang="en-US" sz="1600" noProof="0">
              <a:solidFill>
                <a:prstClr val="white"/>
              </a:solidFill>
              <a:latin typeface="Arial"/>
            </a:endParaRPr>
          </a:p>
        </p:txBody>
      </p:sp>
      <p:sp>
        <p:nvSpPr>
          <p:cNvPr id="21" name="Title 28"/>
          <p:cNvSpPr>
            <a:spLocks noGrp="1"/>
          </p:cNvSpPr>
          <p:nvPr>
            <p:ph type="title" hasCustomPrompt="1"/>
          </p:nvPr>
        </p:nvSpPr>
        <p:spPr bwMode="gray">
          <a:xfrm>
            <a:off x="533084" y="853080"/>
            <a:ext cx="3162224" cy="418576"/>
          </a:xfrm>
          <a:prstGeom prst="rect">
            <a:avLst/>
          </a:prstGeom>
        </p:spPr>
        <p:txBody>
          <a:bodyPr wrap="square" lIns="0" tIns="0" rIns="0" bIns="0" anchor="t" anchorCtr="0">
            <a:noAutofit/>
          </a:bodyPr>
          <a:lstStyle>
            <a:lvl1pPr marL="0" algn="l" defTabSz="1218255" rtl="0" eaLnBrk="1" latinLnBrk="0" hangingPunct="1">
              <a:lnSpc>
                <a:spcPct val="85000"/>
              </a:lnSpc>
              <a:spcBef>
                <a:spcPct val="0"/>
              </a:spcBef>
              <a:buNone/>
              <a:tabLst>
                <a:tab pos="1218255" algn="l"/>
              </a:tabLst>
              <a:defRPr lang="en-US" sz="4399"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8" name="Text Placeholder 2">
            <a:extLst>
              <a:ext uri="{FF2B5EF4-FFF2-40B4-BE49-F238E27FC236}">
                <a16:creationId xmlns:a16="http://schemas.microsoft.com/office/drawing/2014/main" id="{E1C8B4BE-EE75-2691-FAA9-AA39C0DAFC47}"/>
              </a:ext>
            </a:extLst>
          </p:cNvPr>
          <p:cNvSpPr>
            <a:spLocks noGrp="1"/>
          </p:cNvSpPr>
          <p:nvPr>
            <p:ph type="body" idx="10" hasCustomPrompt="1"/>
          </p:nvPr>
        </p:nvSpPr>
        <p:spPr bwMode="gray">
          <a:xfrm>
            <a:off x="533084" y="4061262"/>
            <a:ext cx="3162224" cy="261610"/>
          </a:xfrm>
          <a:prstGeom prst="rect">
            <a:avLst/>
          </a:prstGeom>
        </p:spPr>
        <p:txBody>
          <a:bodyPr lIns="0" tIns="0" rIns="0" bIns="0" anchor="t" anchorCtr="0">
            <a:noAutofit/>
          </a:bodyPr>
          <a:lstStyle>
            <a:lvl1pPr marL="0" indent="0">
              <a:lnSpc>
                <a:spcPct val="85000"/>
              </a:lnSpc>
              <a:spcBef>
                <a:spcPts val="0"/>
              </a:spcBef>
              <a:buNone/>
              <a:defRPr sz="1999" b="0">
                <a:solidFill>
                  <a:schemeClr val="bg1"/>
                </a:solidFill>
                <a:latin typeface="Arial" pitchFamily="34" charset="0"/>
                <a:cs typeface="Arial" pitchFamily="34" charset="0"/>
              </a:defRPr>
            </a:lvl1pPr>
            <a:lvl2pPr marL="609127" indent="0">
              <a:buNone/>
              <a:defRPr sz="2698" b="1"/>
            </a:lvl2pPr>
            <a:lvl3pPr marL="1218255" indent="0">
              <a:buNone/>
              <a:defRPr sz="2398" b="1"/>
            </a:lvl3pPr>
            <a:lvl4pPr marL="1827383" indent="0">
              <a:buNone/>
              <a:defRPr sz="2098" b="1"/>
            </a:lvl4pPr>
            <a:lvl5pPr marL="2436511" indent="0">
              <a:buNone/>
              <a:defRPr sz="2098" b="1"/>
            </a:lvl5pPr>
            <a:lvl6pPr marL="3045639" indent="0">
              <a:buNone/>
              <a:defRPr sz="2098" b="1"/>
            </a:lvl6pPr>
            <a:lvl7pPr marL="3654766" indent="0">
              <a:buNone/>
              <a:defRPr sz="2098" b="1"/>
            </a:lvl7pPr>
            <a:lvl8pPr marL="4263893" indent="0">
              <a:buNone/>
              <a:defRPr sz="2098" b="1"/>
            </a:lvl8pPr>
            <a:lvl9pPr marL="4873022" indent="0">
              <a:buNone/>
              <a:defRPr sz="2098" b="1"/>
            </a:lvl9pPr>
          </a:lstStyle>
          <a:p>
            <a:pPr lvl="0"/>
            <a:r>
              <a:rPr lang="en-US"/>
              <a:t>Click to edit master text styles</a:t>
            </a:r>
          </a:p>
        </p:txBody>
      </p:sp>
    </p:spTree>
    <p:extLst>
      <p:ext uri="{BB962C8B-B14F-4D97-AF65-F5344CB8AC3E}">
        <p14:creationId xmlns:p14="http://schemas.microsoft.com/office/powerpoint/2010/main" val="1437229903"/>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80CA7E-F172-5466-71C1-3B879ABC5DE2}"/>
              </a:ext>
            </a:extLst>
          </p:cNvPr>
          <p:cNvSpPr>
            <a:spLocks noGrp="1"/>
          </p:cNvSpPr>
          <p:nvPr>
            <p:ph type="dt" sz="half" idx="10"/>
          </p:nvPr>
        </p:nvSpPr>
        <p:spPr/>
        <p:txBody>
          <a:bodyPr/>
          <a:lstStyle/>
          <a:p>
            <a:fld id="{8DCD0917-4F87-48AF-B9C0-3B7BBAAAF56B}" type="datetimeFigureOut">
              <a:rPr lang="en-US" smtClean="0"/>
              <a:t>6/9/2026</a:t>
            </a:fld>
            <a:endParaRPr lang="en-US"/>
          </a:p>
        </p:txBody>
      </p:sp>
      <p:sp>
        <p:nvSpPr>
          <p:cNvPr id="3" name="Footer Placeholder 2">
            <a:extLst>
              <a:ext uri="{FF2B5EF4-FFF2-40B4-BE49-F238E27FC236}">
                <a16:creationId xmlns:a16="http://schemas.microsoft.com/office/drawing/2014/main" id="{F45279B9-0B48-1C7A-6C50-E3FD7E41099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BBC782F-5F83-3728-6C24-CD503D3974B0}"/>
              </a:ext>
            </a:extLst>
          </p:cNvPr>
          <p:cNvSpPr>
            <a:spLocks noGrp="1"/>
          </p:cNvSpPr>
          <p:nvPr>
            <p:ph type="sldNum" sz="quarter" idx="12"/>
          </p:nvPr>
        </p:nvSpPr>
        <p:spPr/>
        <p:txBody>
          <a:bodyPr/>
          <a:lstStyle/>
          <a:p>
            <a:fld id="{57E4EB4C-E9F8-4D43-8745-0F431C4FFCA3}" type="slidenum">
              <a:rPr lang="en-US" smtClean="0"/>
              <a:t>‹#›</a:t>
            </a:fld>
            <a:endParaRPr lang="en-US"/>
          </a:p>
        </p:txBody>
      </p:sp>
    </p:spTree>
    <p:extLst>
      <p:ext uri="{BB962C8B-B14F-4D97-AF65-F5344CB8AC3E}">
        <p14:creationId xmlns:p14="http://schemas.microsoft.com/office/powerpoint/2010/main" val="1137360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AAB45-4A68-0FBE-C01B-452D94EC9F16}"/>
              </a:ext>
            </a:extLst>
          </p:cNvPr>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71DD924-231E-652A-0B67-2A0C61C18E58}"/>
              </a:ext>
            </a:extLst>
          </p:cNvPr>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9E001C0-30A6-6283-D235-FF3E26D0ABBD}"/>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5" name="Footer Placeholder 4">
            <a:extLst>
              <a:ext uri="{FF2B5EF4-FFF2-40B4-BE49-F238E27FC236}">
                <a16:creationId xmlns:a16="http://schemas.microsoft.com/office/drawing/2014/main" id="{126D8FD0-6AA8-A120-3CC7-54AB4A239C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8DA876-0021-E4FA-F9A0-780D77827C14}"/>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8839793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Slide">
    <p:bg>
      <p:bgPr>
        <a:solidFill>
          <a:schemeClr val="bg1"/>
        </a:solidFill>
        <a:effectLst/>
      </p:bgPr>
    </p:bg>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0" y="1307593"/>
            <a:ext cx="5070324"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half" idx="14"/>
          </p:nvPr>
        </p:nvSpPr>
        <p:spPr bwMode="gray">
          <a:xfrm>
            <a:off x="6340962" y="1307593"/>
            <a:ext cx="5067096"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02FE5186-E704-46DB-A234-0339427F829C}"/>
              </a:ext>
            </a:extLst>
          </p:cNvPr>
          <p:cNvSpPr>
            <a:spLocks noGrp="1"/>
          </p:cNvSpPr>
          <p:nvPr>
            <p:ph type="sldNum" sz="quarter" idx="15"/>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2021530824"/>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49AEB-F195-E2E2-C4EB-EF0C0562CE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9A5E43-B4F6-4728-87B0-B5208F41A90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313534-5041-73DB-A359-6C9E846D7E20}"/>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5" name="Footer Placeholder 4">
            <a:extLst>
              <a:ext uri="{FF2B5EF4-FFF2-40B4-BE49-F238E27FC236}">
                <a16:creationId xmlns:a16="http://schemas.microsoft.com/office/drawing/2014/main" id="{DF8CC530-DA70-8479-6A9F-DE5BDC785D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CC86FD-CA6B-AD4B-FF73-D4E2AD2CD742}"/>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11170526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B485C-335C-75F2-2890-2B63D7EE8A5A}"/>
              </a:ext>
            </a:extLst>
          </p:cNvPr>
          <p:cNvSpPr>
            <a:spLocks noGrp="1"/>
          </p:cNvSpPr>
          <p:nvPr>
            <p:ph type="title"/>
          </p:nvPr>
        </p:nvSpPr>
        <p:spPr>
          <a:xfrm>
            <a:off x="831850" y="1709740"/>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30F9D08D-740B-32D8-9D4B-058CC6509C9B}"/>
              </a:ext>
            </a:extLst>
          </p:cNvPr>
          <p:cNvSpPr>
            <a:spLocks noGrp="1"/>
          </p:cNvSpPr>
          <p:nvPr>
            <p:ph type="body" idx="1"/>
          </p:nvPr>
        </p:nvSpPr>
        <p:spPr>
          <a:xfrm>
            <a:off x="831850" y="4589465"/>
            <a:ext cx="10515600" cy="1500187"/>
          </a:xfrm>
        </p:spPr>
        <p:txBody>
          <a:bodyPr/>
          <a:lstStyle>
            <a:lvl1pPr marL="0" indent="0">
              <a:buNone/>
              <a:defRPr sz="2399">
                <a:solidFill>
                  <a:schemeClr val="tx1">
                    <a:tint val="82000"/>
                  </a:schemeClr>
                </a:solidFill>
              </a:defRPr>
            </a:lvl1pPr>
            <a:lvl2pPr marL="457063" indent="0">
              <a:buNone/>
              <a:defRPr sz="1999">
                <a:solidFill>
                  <a:schemeClr val="tx1">
                    <a:tint val="82000"/>
                  </a:schemeClr>
                </a:solidFill>
              </a:defRPr>
            </a:lvl2pPr>
            <a:lvl3pPr marL="914126" indent="0">
              <a:buNone/>
              <a:defRPr sz="1799">
                <a:solidFill>
                  <a:schemeClr val="tx1">
                    <a:tint val="82000"/>
                  </a:schemeClr>
                </a:solidFill>
              </a:defRPr>
            </a:lvl3pPr>
            <a:lvl4pPr marL="1371189" indent="0">
              <a:buNone/>
              <a:defRPr sz="1600">
                <a:solidFill>
                  <a:schemeClr val="tx1">
                    <a:tint val="82000"/>
                  </a:schemeClr>
                </a:solidFill>
              </a:defRPr>
            </a:lvl4pPr>
            <a:lvl5pPr marL="1828251" indent="0">
              <a:buNone/>
              <a:defRPr sz="1600">
                <a:solidFill>
                  <a:schemeClr val="tx1">
                    <a:tint val="82000"/>
                  </a:schemeClr>
                </a:solidFill>
              </a:defRPr>
            </a:lvl5pPr>
            <a:lvl6pPr marL="2285314" indent="0">
              <a:buNone/>
              <a:defRPr sz="1600">
                <a:solidFill>
                  <a:schemeClr val="tx1">
                    <a:tint val="82000"/>
                  </a:schemeClr>
                </a:solidFill>
              </a:defRPr>
            </a:lvl6pPr>
            <a:lvl7pPr marL="2742377" indent="0">
              <a:buNone/>
              <a:defRPr sz="1600">
                <a:solidFill>
                  <a:schemeClr val="tx1">
                    <a:tint val="82000"/>
                  </a:schemeClr>
                </a:solidFill>
              </a:defRPr>
            </a:lvl7pPr>
            <a:lvl8pPr marL="3199440" indent="0">
              <a:buNone/>
              <a:defRPr sz="1600">
                <a:solidFill>
                  <a:schemeClr val="tx1">
                    <a:tint val="82000"/>
                  </a:schemeClr>
                </a:solidFill>
              </a:defRPr>
            </a:lvl8pPr>
            <a:lvl9pPr marL="3656503"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FF6D6F-021C-145A-5258-E20DE2A44A78}"/>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5" name="Footer Placeholder 4">
            <a:extLst>
              <a:ext uri="{FF2B5EF4-FFF2-40B4-BE49-F238E27FC236}">
                <a16:creationId xmlns:a16="http://schemas.microsoft.com/office/drawing/2014/main" id="{512EB0C6-8D58-14B3-6572-4652F946BD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E69D1B-E4F1-CF1F-1B7B-40870DF1FAFE}"/>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261751038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55028-6F34-E6BD-6DD9-DD75449612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C25165-ECDB-CA98-BCF1-6CA7F5471C0A}"/>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2D77AAD-78A4-8CE1-A104-FEB790CE986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7842886-391E-BE5B-45DA-169C5F487330}"/>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6" name="Footer Placeholder 5">
            <a:extLst>
              <a:ext uri="{FF2B5EF4-FFF2-40B4-BE49-F238E27FC236}">
                <a16:creationId xmlns:a16="http://schemas.microsoft.com/office/drawing/2014/main" id="{DE390C65-3DC5-672F-EBEA-60A32C7002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BD06D6-0AE6-F6CC-A38E-535B0CC37E47}"/>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346303613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AAF1A-A889-E2DB-C5BD-B66169BDECD0}"/>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C6AB1ED-3626-9636-2BA7-9FF382900340}"/>
              </a:ext>
            </a:extLst>
          </p:cNvPr>
          <p:cNvSpPr>
            <a:spLocks noGrp="1"/>
          </p:cNvSpPr>
          <p:nvPr>
            <p:ph type="body" idx="1"/>
          </p:nvPr>
        </p:nvSpPr>
        <p:spPr>
          <a:xfrm>
            <a:off x="839789" y="1681163"/>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281AADD-83F2-0C82-A6F0-43A682329BE7}"/>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B16138B-852F-AB1A-E5DC-64ACA465D084}"/>
              </a:ext>
            </a:extLst>
          </p:cNvPr>
          <p:cNvSpPr>
            <a:spLocks noGrp="1"/>
          </p:cNvSpPr>
          <p:nvPr>
            <p:ph type="body" sz="quarter" idx="3"/>
          </p:nvPr>
        </p:nvSpPr>
        <p:spPr>
          <a:xfrm>
            <a:off x="6172200" y="1681163"/>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317F7B0-1F9A-1812-FFCE-08288D3C04B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24C2266-CAAC-519E-A535-51F821ABF23A}"/>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8" name="Footer Placeholder 7">
            <a:extLst>
              <a:ext uri="{FF2B5EF4-FFF2-40B4-BE49-F238E27FC236}">
                <a16:creationId xmlns:a16="http://schemas.microsoft.com/office/drawing/2014/main" id="{7016BFC7-6FFA-D606-E464-032E0C017A4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E62226F-0128-8A7B-3EFB-DECF04335C51}"/>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28826770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26454-D4BE-3614-D3ED-3606A39DD62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F70DD0F-4617-7FBB-1528-2601134DB64A}"/>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4" name="Footer Placeholder 3">
            <a:extLst>
              <a:ext uri="{FF2B5EF4-FFF2-40B4-BE49-F238E27FC236}">
                <a16:creationId xmlns:a16="http://schemas.microsoft.com/office/drawing/2014/main" id="{45EAC36D-0FD3-029A-71D6-81985E8B965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7C19BFB-AE90-D040-484D-C206AB6FD3B8}"/>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126536113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43252A0-EEB4-C240-0EF4-25F67D52A29A}"/>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3" name="Footer Placeholder 2">
            <a:extLst>
              <a:ext uri="{FF2B5EF4-FFF2-40B4-BE49-F238E27FC236}">
                <a16:creationId xmlns:a16="http://schemas.microsoft.com/office/drawing/2014/main" id="{E4062DA0-895D-D414-B5DA-C95AFD561E1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80147B-A61B-D039-37FB-6B6780E4F737}"/>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361086956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048AB-7C0D-5047-FE2A-8818F985C3C2}"/>
              </a:ext>
            </a:extLst>
          </p:cNvPr>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Content Placeholder 2">
            <a:extLst>
              <a:ext uri="{FF2B5EF4-FFF2-40B4-BE49-F238E27FC236}">
                <a16:creationId xmlns:a16="http://schemas.microsoft.com/office/drawing/2014/main" id="{1D18D8E2-42B4-CC2D-6182-49EA2DF89EBE}"/>
              </a:ext>
            </a:extLst>
          </p:cNvPr>
          <p:cNvSpPr>
            <a:spLocks noGrp="1"/>
          </p:cNvSpPr>
          <p:nvPr>
            <p:ph idx="1"/>
          </p:nvPr>
        </p:nvSpPr>
        <p:spPr>
          <a:xfrm>
            <a:off x="5183188" y="987427"/>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17D4F0-8C8C-90F2-51B8-914E1938AE9B}"/>
              </a:ext>
            </a:extLst>
          </p:cNvPr>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136F2E-CE75-A2B9-F05B-F7B7FB00190B}"/>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6" name="Footer Placeholder 5">
            <a:extLst>
              <a:ext uri="{FF2B5EF4-FFF2-40B4-BE49-F238E27FC236}">
                <a16:creationId xmlns:a16="http://schemas.microsoft.com/office/drawing/2014/main" id="{EACD9710-792C-D571-AA09-02E8E8D93C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94A006-8BC3-ED10-64A7-9495B255FB13}"/>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4365526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8B12A-398F-63E9-532B-AA482EB9683A}"/>
              </a:ext>
            </a:extLst>
          </p:cNvPr>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Picture Placeholder 2">
            <a:extLst>
              <a:ext uri="{FF2B5EF4-FFF2-40B4-BE49-F238E27FC236}">
                <a16:creationId xmlns:a16="http://schemas.microsoft.com/office/drawing/2014/main" id="{E907188C-3F5E-68DA-A086-70C16C2EA698}"/>
              </a:ext>
            </a:extLst>
          </p:cNvPr>
          <p:cNvSpPr>
            <a:spLocks noGrp="1"/>
          </p:cNvSpPr>
          <p:nvPr>
            <p:ph type="pic" idx="1"/>
          </p:nvPr>
        </p:nvSpPr>
        <p:spPr>
          <a:xfrm>
            <a:off x="5183188" y="987427"/>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a:extLst>
              <a:ext uri="{FF2B5EF4-FFF2-40B4-BE49-F238E27FC236}">
                <a16:creationId xmlns:a16="http://schemas.microsoft.com/office/drawing/2014/main" id="{EA912912-DDFD-D2D7-2951-9866A090666E}"/>
              </a:ext>
            </a:extLst>
          </p:cNvPr>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1FF4AE-EB31-41EF-D3E9-34C815CD55B5}"/>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6" name="Footer Placeholder 5">
            <a:extLst>
              <a:ext uri="{FF2B5EF4-FFF2-40B4-BE49-F238E27FC236}">
                <a16:creationId xmlns:a16="http://schemas.microsoft.com/office/drawing/2014/main" id="{F2CA3DEF-7125-99D4-AA41-FE16B3DAD0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8B51D5-6D6C-8F49-976E-AFED6CC24138}"/>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106021823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09495-681C-B4C8-4C4A-2C11020432D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6A71B4C-D0B4-7FC6-8BB7-DE477418B5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E7B106-3A12-7E92-BA2F-A1A3223F70AF}"/>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5" name="Footer Placeholder 4">
            <a:extLst>
              <a:ext uri="{FF2B5EF4-FFF2-40B4-BE49-F238E27FC236}">
                <a16:creationId xmlns:a16="http://schemas.microsoft.com/office/drawing/2014/main" id="{C10018B1-AA93-9861-B7C5-9C84011F10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6DD302-8959-23D5-AD9E-CFE68F142580}"/>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309356606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924D6FC-8739-9808-C9F0-73CE7726678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4D3B8D-F930-0571-FC1D-DCCEB7F543B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F36B05-264F-F85F-C9E3-B23C2C965929}"/>
              </a:ext>
            </a:extLst>
          </p:cNvPr>
          <p:cNvSpPr>
            <a:spLocks noGrp="1"/>
          </p:cNvSpPr>
          <p:nvPr>
            <p:ph type="dt" sz="half" idx="10"/>
          </p:nvPr>
        </p:nvSpPr>
        <p:spPr/>
        <p:txBody>
          <a:bodyPr/>
          <a:lstStyle/>
          <a:p>
            <a:fld id="{B0D89B94-D13F-46B5-8211-1DCA1560C4B0}" type="datetimeFigureOut">
              <a:rPr lang="en-US" smtClean="0"/>
              <a:t>6/9/2026</a:t>
            </a:fld>
            <a:endParaRPr lang="en-US"/>
          </a:p>
        </p:txBody>
      </p:sp>
      <p:sp>
        <p:nvSpPr>
          <p:cNvPr id="5" name="Footer Placeholder 4">
            <a:extLst>
              <a:ext uri="{FF2B5EF4-FFF2-40B4-BE49-F238E27FC236}">
                <a16:creationId xmlns:a16="http://schemas.microsoft.com/office/drawing/2014/main" id="{5F89B8EA-9558-EBAA-D8BA-D80465F006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ADDFD8-F0E0-BEEB-576C-6ACFD9FE62B0}"/>
              </a:ext>
            </a:extLst>
          </p:cNvPr>
          <p:cNvSpPr>
            <a:spLocks noGrp="1"/>
          </p:cNvSpPr>
          <p:nvPr>
            <p:ph type="sldNum" sz="quarter" idx="12"/>
          </p:nvPr>
        </p:nvSpPr>
        <p:spPr/>
        <p:txBody>
          <a:bodyPr/>
          <a:lstStyle/>
          <a:p>
            <a:fld id="{70EB7D4A-C7FE-4609-802E-FF89515C219A}" type="slidenum">
              <a:rPr lang="en-US" smtClean="0"/>
              <a:t>‹#›</a:t>
            </a:fld>
            <a:endParaRPr lang="en-US"/>
          </a:p>
        </p:txBody>
      </p:sp>
    </p:spTree>
    <p:extLst>
      <p:ext uri="{BB962C8B-B14F-4D97-AF65-F5344CB8AC3E}">
        <p14:creationId xmlns:p14="http://schemas.microsoft.com/office/powerpoint/2010/main" val="32504889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 Column Slide_Black">
    <p:bg>
      <p:bgPr>
        <a:solidFill>
          <a:srgbClr val="1E0013"/>
        </a:solidFill>
        <a:effectLst/>
      </p:bgPr>
    </p:bg>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0" y="1307594"/>
            <a:ext cx="5070324"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half" idx="14"/>
          </p:nvPr>
        </p:nvSpPr>
        <p:spPr bwMode="gray">
          <a:xfrm>
            <a:off x="6340962" y="1307594"/>
            <a:ext cx="5067096"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A1D52F52-4191-E70A-A15D-3F4D0CF0AA2B}"/>
              </a:ext>
            </a:extLst>
          </p:cNvPr>
          <p:cNvSpPr>
            <a:spLocks noGrp="1"/>
          </p:cNvSpPr>
          <p:nvPr>
            <p:ph type="sldNum" sz="quarter" idx="15"/>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606442184"/>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2_Title with Subtitle Content_Black">
    <p:bg>
      <p:bgPr>
        <a:solidFill>
          <a:schemeClr val="tx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6C6EB53-ACF5-DA42-B129-C8077B5DD6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2" name="Slide Number Placeholder 5"/>
          <p:cNvSpPr>
            <a:spLocks noGrp="1"/>
          </p:cNvSpPr>
          <p:nvPr>
            <p:ph type="sldNum" sz="quarter" idx="4"/>
          </p:nvPr>
        </p:nvSpPr>
        <p:spPr>
          <a:xfrm>
            <a:off x="11752974" y="6473952"/>
            <a:ext cx="439026" cy="155448"/>
          </a:xfrm>
          <a:prstGeom prst="rect">
            <a:avLst/>
          </a:prstGeom>
        </p:spPr>
        <p:txBody>
          <a:bodyPr vert="horz" lIns="0" tIns="0" rIns="0" bIns="0" rtlCol="0" anchor="ctr"/>
          <a:lstStyle>
            <a:lvl1pPr algn="ctr">
              <a:defRPr sz="1000">
                <a:solidFill>
                  <a:schemeClr val="bg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sp>
        <p:nvSpPr>
          <p:cNvPr id="7" name="TextBox 6"/>
          <p:cNvSpPr txBox="1"/>
          <p:nvPr userDrawn="1"/>
        </p:nvSpPr>
        <p:spPr>
          <a:xfrm>
            <a:off x="1396578" y="6473952"/>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5 Lenovo. All rights reserved.</a:t>
            </a:r>
          </a:p>
        </p:txBody>
      </p:sp>
      <p:grpSp>
        <p:nvGrpSpPr>
          <p:cNvPr id="8" name="Group 7"/>
          <p:cNvGrpSpPr/>
          <p:nvPr userDrawn="1"/>
        </p:nvGrpSpPr>
        <p:grpSpPr>
          <a:xfrm>
            <a:off x="554486" y="6421482"/>
            <a:ext cx="734547" cy="245008"/>
            <a:chOff x="547688" y="952500"/>
            <a:chExt cx="12190413" cy="4067175"/>
          </a:xfrm>
        </p:grpSpPr>
        <p:sp>
          <p:nvSpPr>
            <p:cNvPr id="9" name="Rectangle 8"/>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7">
                <a:solidFill>
                  <a:schemeClr val="bg1"/>
                </a:solidFill>
              </a:endParaRPr>
            </a:p>
          </p:txBody>
        </p:sp>
        <p:sp>
          <p:nvSpPr>
            <p:cNvPr id="10" name="Freeform 9"/>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7">
                <a:solidFill>
                  <a:schemeClr val="bg1"/>
                </a:solidFill>
              </a:endParaRPr>
            </a:p>
          </p:txBody>
        </p:sp>
        <p:sp>
          <p:nvSpPr>
            <p:cNvPr id="13" name="Freeform 12"/>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7">
                <a:solidFill>
                  <a:schemeClr val="bg1"/>
                </a:solidFill>
              </a:endParaRPr>
            </a:p>
          </p:txBody>
        </p:sp>
        <p:sp>
          <p:nvSpPr>
            <p:cNvPr id="14" name="Freeform 13"/>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7">
                <a:solidFill>
                  <a:schemeClr val="bg1"/>
                </a:solidFill>
              </a:endParaRPr>
            </a:p>
          </p:txBody>
        </p:sp>
        <p:sp>
          <p:nvSpPr>
            <p:cNvPr id="15" name="Freeform 14"/>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7">
                <a:solidFill>
                  <a:schemeClr val="bg1"/>
                </a:solidFill>
              </a:endParaRPr>
            </a:p>
          </p:txBody>
        </p:sp>
        <p:sp>
          <p:nvSpPr>
            <p:cNvPr id="16" name="Freeform 10"/>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7">
                <a:solidFill>
                  <a:schemeClr val="bg1"/>
                </a:solidFill>
              </a:endParaRPr>
            </a:p>
          </p:txBody>
        </p:sp>
        <p:sp>
          <p:nvSpPr>
            <p:cNvPr id="17" name="Freeform 11"/>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7">
                <a:solidFill>
                  <a:schemeClr val="bg1"/>
                </a:solidFill>
              </a:endParaRPr>
            </a:p>
          </p:txBody>
        </p:sp>
      </p:grpSp>
    </p:spTree>
    <p:extLst>
      <p:ext uri="{BB962C8B-B14F-4D97-AF65-F5344CB8AC3E}">
        <p14:creationId xmlns:p14="http://schemas.microsoft.com/office/powerpoint/2010/main" val="1297129344"/>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Section Header_Black_Alt">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C7E6EC-4EB4-59F7-3E20-3D2CA48F7D24}"/>
              </a:ext>
            </a:extLst>
          </p:cNvPr>
          <p:cNvGraphicFramePr>
            <a:graphicFrameLocks noChangeAspect="1"/>
          </p:cNvGraphicFramePr>
          <p:nvPr userDrawn="1">
            <p:custDataLst>
              <p:tags r:id="rId1"/>
            </p:custDataLst>
            <p:extLst>
              <p:ext uri="{D42A27DB-BD31-4B8C-83A1-F6EECF244321}">
                <p14:modId xmlns:p14="http://schemas.microsoft.com/office/powerpoint/2010/main" val="15068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3" name="think-cell data - do not delete" hidden="1">
                        <a:extLst>
                          <a:ext uri="{FF2B5EF4-FFF2-40B4-BE49-F238E27FC236}">
                            <a16:creationId xmlns:a16="http://schemas.microsoft.com/office/drawing/2014/main" id="{BEC7E6EC-4EB4-59F7-3E20-3D2CA48F7D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5" name="Picture 24" descr="Background pattern&#10;&#10;Description automatically generated">
            <a:extLst>
              <a:ext uri="{FF2B5EF4-FFF2-40B4-BE49-F238E27FC236}">
                <a16:creationId xmlns:a16="http://schemas.microsoft.com/office/drawing/2014/main" id="{D2ED0643-8C31-4A20-AE73-693EFF66546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 y="39"/>
            <a:ext cx="12192000" cy="6857929"/>
          </a:xfrm>
          <a:prstGeom prst="rect">
            <a:avLst/>
          </a:prstGeom>
        </p:spPr>
      </p:pic>
      <p:sp>
        <p:nvSpPr>
          <p:cNvPr id="16" name="TextBox 15">
            <a:extLst>
              <a:ext uri="{FF2B5EF4-FFF2-40B4-BE49-F238E27FC236}">
                <a16:creationId xmlns:a16="http://schemas.microsoft.com/office/drawing/2014/main" id="{C50D814F-EE5B-C084-7424-D39C0DE54FF7}"/>
              </a:ext>
            </a:extLst>
          </p:cNvPr>
          <p:cNvSpPr txBox="1"/>
          <p:nvPr userDrawn="1"/>
        </p:nvSpPr>
        <p:spPr>
          <a:xfrm>
            <a:off x="1603772" y="6401580"/>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5 Lenovo Confidential. All rights reserved.</a:t>
            </a:r>
          </a:p>
        </p:txBody>
      </p:sp>
      <p:grpSp>
        <p:nvGrpSpPr>
          <p:cNvPr id="17" name="Group 16">
            <a:extLst>
              <a:ext uri="{FF2B5EF4-FFF2-40B4-BE49-F238E27FC236}">
                <a16:creationId xmlns:a16="http://schemas.microsoft.com/office/drawing/2014/main" id="{3C498D60-2F6C-6ADE-BB9A-D957660E0731}"/>
              </a:ext>
            </a:extLst>
          </p:cNvPr>
          <p:cNvGrpSpPr>
            <a:grpSpLocks noChangeAspect="1"/>
          </p:cNvGrpSpPr>
          <p:nvPr userDrawn="1"/>
        </p:nvGrpSpPr>
        <p:grpSpPr>
          <a:xfrm>
            <a:off x="760611" y="6348283"/>
            <a:ext cx="777442" cy="259316"/>
            <a:chOff x="547688" y="952500"/>
            <a:chExt cx="12190413" cy="4067175"/>
          </a:xfrm>
        </p:grpSpPr>
        <p:sp>
          <p:nvSpPr>
            <p:cNvPr id="18" name="Rectangle 17">
              <a:extLst>
                <a:ext uri="{FF2B5EF4-FFF2-40B4-BE49-F238E27FC236}">
                  <a16:creationId xmlns:a16="http://schemas.microsoft.com/office/drawing/2014/main" id="{C8414641-DA5A-BDF2-889C-1430A63E358C}"/>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9" name="Freeform 7">
              <a:extLst>
                <a:ext uri="{FF2B5EF4-FFF2-40B4-BE49-F238E27FC236}">
                  <a16:creationId xmlns:a16="http://schemas.microsoft.com/office/drawing/2014/main" id="{6CAA72E6-FAE3-6740-34C0-7A08091254BD}"/>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0" name="Freeform 8">
              <a:extLst>
                <a:ext uri="{FF2B5EF4-FFF2-40B4-BE49-F238E27FC236}">
                  <a16:creationId xmlns:a16="http://schemas.microsoft.com/office/drawing/2014/main" id="{0EE70422-5E10-8634-79CC-15428116CD0F}"/>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1" name="Freeform 9">
              <a:extLst>
                <a:ext uri="{FF2B5EF4-FFF2-40B4-BE49-F238E27FC236}">
                  <a16:creationId xmlns:a16="http://schemas.microsoft.com/office/drawing/2014/main" id="{F9B9866C-878A-3BAE-D601-6317EEEB78A9}"/>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2" name="Freeform 10">
              <a:extLst>
                <a:ext uri="{FF2B5EF4-FFF2-40B4-BE49-F238E27FC236}">
                  <a16:creationId xmlns:a16="http://schemas.microsoft.com/office/drawing/2014/main" id="{20DD7C9B-A88C-7ECB-27AE-CB4579CDB90D}"/>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3" name="Freeform 10">
              <a:extLst>
                <a:ext uri="{FF2B5EF4-FFF2-40B4-BE49-F238E27FC236}">
                  <a16:creationId xmlns:a16="http://schemas.microsoft.com/office/drawing/2014/main" id="{084B2859-A58F-9171-5328-94CFD162F589}"/>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24" name="Freeform 11">
              <a:extLst>
                <a:ext uri="{FF2B5EF4-FFF2-40B4-BE49-F238E27FC236}">
                  <a16:creationId xmlns:a16="http://schemas.microsoft.com/office/drawing/2014/main" id="{DC1829C2-6CD9-FE35-3F45-EEC10E2F169E}"/>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grpSp>
      <p:sp>
        <p:nvSpPr>
          <p:cNvPr id="2" name="Slide Number Placeholder 1">
            <a:extLst>
              <a:ext uri="{FF2B5EF4-FFF2-40B4-BE49-F238E27FC236}">
                <a16:creationId xmlns:a16="http://schemas.microsoft.com/office/drawing/2014/main" id="{E01CC465-FDF1-C0A2-5A83-FB03B2F0F4B6}"/>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a:p>
        </p:txBody>
      </p:sp>
      <p:sp>
        <p:nvSpPr>
          <p:cNvPr id="4" name="Title 28">
            <a:extLst>
              <a:ext uri="{FF2B5EF4-FFF2-40B4-BE49-F238E27FC236}">
                <a16:creationId xmlns:a16="http://schemas.microsoft.com/office/drawing/2014/main" id="{BF22E6D3-A2FE-63D7-CC2C-E255E86DE650}"/>
              </a:ext>
            </a:extLst>
          </p:cNvPr>
          <p:cNvSpPr>
            <a:spLocks noGrp="1"/>
          </p:cNvSpPr>
          <p:nvPr>
            <p:ph type="title" hasCustomPrompt="1"/>
          </p:nvPr>
        </p:nvSpPr>
        <p:spPr bwMode="gray">
          <a:xfrm>
            <a:off x="760613" y="442528"/>
            <a:ext cx="10670780" cy="418576"/>
          </a:xfrm>
          <a:prstGeom prst="rect">
            <a:avLst/>
          </a:prstGeom>
        </p:spPr>
        <p:txBody>
          <a:bodyPr vert="horz" wrap="square" lIns="0" tIns="0" rIns="0" bIns="0" anchor="t" anchorCtr="0">
            <a:noAutofit/>
          </a:bodyPr>
          <a:lstStyle>
            <a:lvl1pPr marL="0" algn="l" defTabSz="1218255" rtl="0" eaLnBrk="1" latinLnBrk="0" hangingPunct="1">
              <a:lnSpc>
                <a:spcPct val="85000"/>
              </a:lnSpc>
              <a:spcBef>
                <a:spcPct val="0"/>
              </a:spcBef>
              <a:buNone/>
              <a:tabLst>
                <a:tab pos="1218255" algn="l"/>
              </a:tabLst>
              <a:defRPr lang="en-US" sz="3198"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Tree>
    <p:extLst>
      <p:ext uri="{BB962C8B-B14F-4D97-AF65-F5344CB8AC3E}">
        <p14:creationId xmlns:p14="http://schemas.microsoft.com/office/powerpoint/2010/main" val="1324544606"/>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Title with Subtitle Content">
    <p:bg>
      <p:bgPr>
        <a:solidFill>
          <a:schemeClr val="bg1"/>
        </a:solidFill>
        <a:effectLst/>
      </p:bgPr>
    </p:bg>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760611" y="1749388"/>
            <a:ext cx="10673829" cy="4346612"/>
          </a:xfrm>
          <a:prstGeom prst="rect">
            <a:avLst/>
          </a:prstGeom>
        </p:spPr>
        <p:txBody>
          <a:bodyPr lIns="0" tIns="0" rIns="0" bIns="0"/>
          <a:lstStyle>
            <a:lvl1pPr marL="171399" indent="-171399">
              <a:lnSpc>
                <a:spcPct val="90000"/>
              </a:lnSpc>
              <a:spcBef>
                <a:spcPts val="1000"/>
              </a:spcBef>
              <a:buClrTx/>
              <a:buFont typeface="Arial" panose="020B0604020202020204" pitchFamily="34" charset="0"/>
              <a:buChar char="•"/>
              <a:defRPr sz="1999">
                <a:solidFill>
                  <a:schemeClr val="tx1"/>
                </a:solidFill>
                <a:latin typeface="Arial" pitchFamily="34" charset="0"/>
                <a:cs typeface="Arial" pitchFamily="34" charset="0"/>
              </a:defRPr>
            </a:lvl1pPr>
            <a:lvl2pPr marL="609310" indent="-228491">
              <a:lnSpc>
                <a:spcPct val="90000"/>
              </a:lnSpc>
              <a:spcBef>
                <a:spcPts val="500"/>
              </a:spcBef>
              <a:buClrTx/>
              <a:buFont typeface="Arial" pitchFamily="34" charset="0"/>
              <a:buChar char="–"/>
              <a:defRPr sz="1799">
                <a:solidFill>
                  <a:schemeClr val="tx1"/>
                </a:solidFill>
                <a:latin typeface="Arial" pitchFamily="34" charset="0"/>
                <a:cs typeface="Arial" pitchFamily="34" charset="0"/>
              </a:defRPr>
            </a:lvl2pPr>
            <a:lvl3pPr marL="835687" indent="-150213">
              <a:lnSpc>
                <a:spcPct val="90000"/>
              </a:lnSpc>
              <a:spcBef>
                <a:spcPts val="500"/>
              </a:spcBef>
              <a:buClrTx/>
              <a:buFont typeface="Arial" panose="020B0604020202020204" pitchFamily="34" charset="0"/>
              <a:buChar char="-"/>
              <a:defRPr sz="1799">
                <a:solidFill>
                  <a:schemeClr val="tx1"/>
                </a:solidFill>
                <a:latin typeface="Arial" pitchFamily="34" charset="0"/>
                <a:cs typeface="Arial" pitchFamily="34" charset="0"/>
              </a:defRPr>
            </a:lvl3pPr>
            <a:lvl4pPr marL="1146689" indent="-156559">
              <a:lnSpc>
                <a:spcPct val="90000"/>
              </a:lnSpc>
              <a:spcBef>
                <a:spcPts val="500"/>
              </a:spcBef>
              <a:buClrTx/>
              <a:buFont typeface="Arial" panose="020B0604020202020204" pitchFamily="34" charset="0"/>
              <a:buChar char="-"/>
              <a:defRPr sz="1799">
                <a:solidFill>
                  <a:schemeClr val="tx1"/>
                </a:solidFill>
                <a:latin typeface="Arial" pitchFamily="34" charset="0"/>
                <a:cs typeface="Arial" pitchFamily="34" charset="0"/>
              </a:defRPr>
            </a:lvl4pPr>
            <a:lvl5pPr marL="1444997" indent="-150213">
              <a:lnSpc>
                <a:spcPct val="90000"/>
              </a:lnSpc>
              <a:spcBef>
                <a:spcPts val="500"/>
              </a:spcBef>
              <a:buClrTx/>
              <a:buFont typeface="Arial" panose="020B0604020202020204" pitchFamily="34" charset="0"/>
              <a:buChar char="-"/>
              <a:defRPr sz="1799">
                <a:solidFill>
                  <a:schemeClr val="tx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1999" b="0">
                <a:solidFill>
                  <a:schemeClr val="tx1"/>
                </a:solidFill>
                <a:latin typeface="Arial" pitchFamily="34" charset="0"/>
                <a:cs typeface="Arial" pitchFamily="34" charset="0"/>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11" name="Title 28"/>
          <p:cNvSpPr>
            <a:spLocks noGrp="1"/>
          </p:cNvSpPr>
          <p:nvPr>
            <p:ph type="title" hasCustomPrompt="1"/>
          </p:nvPr>
        </p:nvSpPr>
        <p:spPr bwMode="gray">
          <a:xfrm>
            <a:off x="760611" y="442528"/>
            <a:ext cx="10673829" cy="418576"/>
          </a:xfrm>
          <a:prstGeom prst="rect">
            <a:avLst/>
          </a:prstGeom>
        </p:spPr>
        <p:txBody>
          <a:bodyPr wrap="square" lIns="0" tIns="0" rIns="0" bIns="0" anchor="t" anchorCtr="0">
            <a:noAutofit/>
          </a:bodyPr>
          <a:lstStyle>
            <a:lvl1pPr marL="0" algn="l" defTabSz="1218621" rtl="0" eaLnBrk="1" latinLnBrk="0" hangingPunct="1">
              <a:lnSpc>
                <a:spcPct val="85000"/>
              </a:lnSpc>
              <a:spcBef>
                <a:spcPct val="0"/>
              </a:spcBef>
              <a:buNone/>
              <a:tabLst>
                <a:tab pos="1218621" algn="l"/>
              </a:tabLst>
              <a:defRPr lang="en-US" sz="3199"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827BD319-CE6A-C56C-FAF4-F7D3C4B20C07}"/>
              </a:ext>
            </a:extLst>
          </p:cNvPr>
          <p:cNvSpPr>
            <a:spLocks noGrp="1"/>
          </p:cNvSpPr>
          <p:nvPr>
            <p:ph type="sldNum" sz="quarter" idx="11"/>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3052339061"/>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Slide">
    <p:bg>
      <p:bgPr>
        <a:solidFill>
          <a:schemeClr val="bg1"/>
        </a:solidFill>
        <a:effectLst/>
      </p:bgPr>
    </p:bg>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4"/>
            <a:ext cx="3343142"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sz="half" idx="10"/>
          </p:nvPr>
        </p:nvSpPr>
        <p:spPr bwMode="gray">
          <a:xfrm>
            <a:off x="4378398" y="1307594"/>
            <a:ext cx="3344059"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sz="half" idx="11"/>
          </p:nvPr>
        </p:nvSpPr>
        <p:spPr bwMode="gray">
          <a:xfrm>
            <a:off x="8017903" y="1307594"/>
            <a:ext cx="3416536"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0C61C74C-45BE-3DE8-0DFD-4B97D814FB04}"/>
              </a:ext>
            </a:extLst>
          </p:cNvPr>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416152253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hree Column Slide_Black">
    <p:bg>
      <p:bgPr>
        <a:solidFill>
          <a:srgbClr val="1E0013"/>
        </a:solidFill>
        <a:effectLst/>
      </p:bgPr>
    </p:bg>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4"/>
            <a:ext cx="3343142"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sz="half" idx="10"/>
          </p:nvPr>
        </p:nvSpPr>
        <p:spPr bwMode="gray">
          <a:xfrm>
            <a:off x="4378399" y="1307594"/>
            <a:ext cx="3343142"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sz="half" idx="11"/>
          </p:nvPr>
        </p:nvSpPr>
        <p:spPr bwMode="gray">
          <a:xfrm>
            <a:off x="8017903" y="1307594"/>
            <a:ext cx="3416536"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3A92B045-EC23-B30D-E716-8FEBB279E86E}"/>
              </a:ext>
            </a:extLst>
          </p:cNvPr>
          <p:cNvSpPr>
            <a:spLocks noGrp="1"/>
          </p:cNvSpPr>
          <p:nvPr>
            <p:ph type="sldNum" sz="quarter" idx="12"/>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48294192"/>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mage">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1" y="442528"/>
            <a:ext cx="5725006"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3"/>
            <a:ext cx="5725006"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8"/>
          <p:cNvSpPr>
            <a:spLocks noGrp="1"/>
          </p:cNvSpPr>
          <p:nvPr>
            <p:ph type="pic" sz="quarter" idx="16"/>
          </p:nvPr>
        </p:nvSpPr>
        <p:spPr>
          <a:xfrm>
            <a:off x="6858199" y="0"/>
            <a:ext cx="5333800"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2" name="Slide Number Placeholder 1">
            <a:extLst>
              <a:ext uri="{FF2B5EF4-FFF2-40B4-BE49-F238E27FC236}">
                <a16:creationId xmlns:a16="http://schemas.microsoft.com/office/drawing/2014/main" id="{C8F3C117-A202-AC1A-30DA-A95049B2670E}"/>
              </a:ext>
            </a:extLst>
          </p:cNvPr>
          <p:cNvSpPr>
            <a:spLocks noGrp="1"/>
          </p:cNvSpPr>
          <p:nvPr>
            <p:ph type="sldNum" sz="quarter" idx="17"/>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429052865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Image_Black">
    <p:bg>
      <p:bgPr>
        <a:solidFill>
          <a:srgbClr val="1E0013"/>
        </a:solidFill>
        <a:effectLst/>
      </p:bgPr>
    </p:bg>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1" y="442528"/>
            <a:ext cx="5725006"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3"/>
            <a:ext cx="5725006" cy="4919589"/>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8"/>
          <p:cNvSpPr>
            <a:spLocks noGrp="1"/>
          </p:cNvSpPr>
          <p:nvPr>
            <p:ph type="pic" sz="quarter" idx="16"/>
          </p:nvPr>
        </p:nvSpPr>
        <p:spPr>
          <a:xfrm>
            <a:off x="6858199" y="0"/>
            <a:ext cx="5333800"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2" name="Slide Number Placeholder 1">
            <a:extLst>
              <a:ext uri="{FF2B5EF4-FFF2-40B4-BE49-F238E27FC236}">
                <a16:creationId xmlns:a16="http://schemas.microsoft.com/office/drawing/2014/main" id="{EF7E7426-E0FB-DA60-E1E0-A41FD9009F5D}"/>
              </a:ext>
            </a:extLst>
          </p:cNvPr>
          <p:cNvSpPr>
            <a:spLocks noGrp="1"/>
          </p:cNvSpPr>
          <p:nvPr>
            <p:ph type="sldNum" sz="quarter" idx="17"/>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94952864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 Statement">
    <p:spTree>
      <p:nvGrpSpPr>
        <p:cNvPr id="1" name=""/>
        <p:cNvGrpSpPr/>
        <p:nvPr/>
      </p:nvGrpSpPr>
      <p:grpSpPr>
        <a:xfrm>
          <a:off x="0" y="0"/>
          <a:ext cx="0" cy="0"/>
          <a:chOff x="0" y="0"/>
          <a:chExt cx="0" cy="0"/>
        </a:xfrm>
      </p:grpSpPr>
      <p:sp>
        <p:nvSpPr>
          <p:cNvPr id="3" name="Rectangle 2"/>
          <p:cNvSpPr/>
          <p:nvPr userDrawn="1"/>
        </p:nvSpPr>
        <p:spPr>
          <a:xfrm>
            <a:off x="1" y="0"/>
            <a:ext cx="406284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lide Number Placeholder 1">
            <a:extLst>
              <a:ext uri="{FF2B5EF4-FFF2-40B4-BE49-F238E27FC236}">
                <a16:creationId xmlns:a16="http://schemas.microsoft.com/office/drawing/2014/main" id="{C9E4313D-4BB5-4FBE-BED7-2E337B7C6B9C}"/>
              </a:ext>
            </a:extLst>
          </p:cNvPr>
          <p:cNvSpPr>
            <a:spLocks noGrp="1"/>
          </p:cNvSpPr>
          <p:nvPr>
            <p:ph type="sldNum" sz="quarter" idx="20"/>
          </p:nvPr>
        </p:nvSpPr>
        <p:spPr>
          <a:xfrm>
            <a:off x="11672569" y="6400800"/>
            <a:ext cx="439026" cy="155448"/>
          </a:xfrm>
        </p:spPr>
        <p:txBody>
          <a:bodyPr/>
          <a:lstStyle/>
          <a:p>
            <a:fld id="{6D22F896-40B5-4ADD-8801-0D06FADFA095}" type="slidenum">
              <a:rPr lang="en-US" smtClean="0"/>
              <a:pPr/>
              <a:t>‹#›</a:t>
            </a:fld>
            <a:endParaRPr lang="en-US"/>
          </a:p>
        </p:txBody>
      </p:sp>
      <p:sp>
        <p:nvSpPr>
          <p:cNvPr id="2" name="Picture Placeholder 8">
            <a:extLst>
              <a:ext uri="{FF2B5EF4-FFF2-40B4-BE49-F238E27FC236}">
                <a16:creationId xmlns:a16="http://schemas.microsoft.com/office/drawing/2014/main" id="{1CFF5BD6-17CC-00C1-ADCF-B04D6703F62D}"/>
              </a:ext>
            </a:extLst>
          </p:cNvPr>
          <p:cNvSpPr>
            <a:spLocks noGrp="1"/>
          </p:cNvSpPr>
          <p:nvPr>
            <p:ph type="pic" sz="quarter" idx="16"/>
          </p:nvPr>
        </p:nvSpPr>
        <p:spPr>
          <a:xfrm>
            <a:off x="4571604" y="0"/>
            <a:ext cx="7620396"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4" name="Text Placeholder 3">
            <a:extLst>
              <a:ext uri="{FF2B5EF4-FFF2-40B4-BE49-F238E27FC236}">
                <a16:creationId xmlns:a16="http://schemas.microsoft.com/office/drawing/2014/main" id="{441A0E3B-4CFE-F883-3C78-D9A6BE41AE05}"/>
              </a:ext>
            </a:extLst>
          </p:cNvPr>
          <p:cNvSpPr>
            <a:spLocks noGrp="1"/>
          </p:cNvSpPr>
          <p:nvPr>
            <p:ph type="body" sz="quarter" idx="18" hasCustomPrompt="1"/>
          </p:nvPr>
        </p:nvSpPr>
        <p:spPr>
          <a:xfrm>
            <a:off x="760610" y="995010"/>
            <a:ext cx="3428016" cy="1436465"/>
          </a:xfrm>
          <a:prstGeom prst="rect">
            <a:avLst/>
          </a:prstGeom>
          <a:noFill/>
        </p:spPr>
        <p:txBody>
          <a:bodyPr lIns="0" tIns="0" rIns="0" bIns="0" anchor="b" anchorCtr="0">
            <a:noAutofit/>
          </a:bodyPr>
          <a:lstStyle>
            <a:lvl1pPr marL="0" indent="0">
              <a:lnSpc>
                <a:spcPct val="85000"/>
              </a:lnSpc>
              <a:spcBef>
                <a:spcPts val="0"/>
              </a:spcBef>
              <a:buFont typeface="Arial" panose="020B0604020202020204" pitchFamily="34" charset="0"/>
              <a:buNone/>
              <a:defRPr sz="4400" b="1" strike="noStrike" spc="-150" baseline="0">
                <a:solidFill>
                  <a:schemeClr val="tx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Click to edit slide title</a:t>
            </a:r>
          </a:p>
        </p:txBody>
      </p:sp>
      <p:sp>
        <p:nvSpPr>
          <p:cNvPr id="5" name="Content Placeholder 2">
            <a:extLst>
              <a:ext uri="{FF2B5EF4-FFF2-40B4-BE49-F238E27FC236}">
                <a16:creationId xmlns:a16="http://schemas.microsoft.com/office/drawing/2014/main" id="{F5F96A18-152F-7D42-F172-C8D7F6B28F2C}"/>
              </a:ext>
            </a:extLst>
          </p:cNvPr>
          <p:cNvSpPr>
            <a:spLocks noGrp="1"/>
          </p:cNvSpPr>
          <p:nvPr>
            <p:ph sz="half" idx="1"/>
          </p:nvPr>
        </p:nvSpPr>
        <p:spPr bwMode="gray">
          <a:xfrm>
            <a:off x="760610" y="2815936"/>
            <a:ext cx="3428016" cy="3280064"/>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856765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rgbClr val="1E0113"/>
        </a:solidFill>
        <a:effectLst/>
      </p:bgPr>
    </p:bg>
    <p:spTree>
      <p:nvGrpSpPr>
        <p:cNvPr id="1" name=""/>
        <p:cNvGrpSpPr/>
        <p:nvPr/>
      </p:nvGrpSpPr>
      <p:grpSpPr>
        <a:xfrm>
          <a:off x="0" y="0"/>
          <a:ext cx="0" cy="0"/>
          <a:chOff x="0" y="0"/>
          <a:chExt cx="0" cy="0"/>
        </a:xfrm>
      </p:grpSpPr>
      <p:sp>
        <p:nvSpPr>
          <p:cNvPr id="56" name="Title 16"/>
          <p:cNvSpPr>
            <a:spLocks noGrp="1"/>
          </p:cNvSpPr>
          <p:nvPr userDrawn="1">
            <p:ph type="title" hasCustomPrompt="1"/>
          </p:nvPr>
        </p:nvSpPr>
        <p:spPr bwMode="gray">
          <a:xfrm>
            <a:off x="750529" y="1524000"/>
            <a:ext cx="9914678" cy="3273368"/>
          </a:xfrm>
          <a:prstGeom prst="rect">
            <a:avLst/>
          </a:prstGeom>
        </p:spPr>
        <p:txBody>
          <a:bodyPr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bg1"/>
                </a:solidFill>
                <a:latin typeface="Arial" pitchFamily="34" charset="0"/>
                <a:ea typeface="+mn-ea"/>
                <a:cs typeface="Arial" pitchFamily="34" charset="0"/>
              </a:defRPr>
            </a:lvl1pPr>
          </a:lstStyle>
          <a:p>
            <a:r>
              <a:rPr lang="en-US"/>
              <a:t>Presentation </a:t>
            </a:r>
            <a:br>
              <a:rPr lang="en-US"/>
            </a:br>
            <a:r>
              <a:rPr lang="en-US"/>
              <a:t>title here</a:t>
            </a:r>
          </a:p>
        </p:txBody>
      </p:sp>
      <p:sp>
        <p:nvSpPr>
          <p:cNvPr id="55" name="Subtitle 2"/>
          <p:cNvSpPr>
            <a:spLocks noGrp="1"/>
          </p:cNvSpPr>
          <p:nvPr userDrawn="1">
            <p:ph type="subTitle" idx="1" hasCustomPrompt="1"/>
          </p:nvPr>
        </p:nvSpPr>
        <p:spPr bwMode="gray">
          <a:xfrm>
            <a:off x="760612" y="5046115"/>
            <a:ext cx="9914678" cy="356616"/>
          </a:xfrm>
          <a:prstGeom prst="rect">
            <a:avLst/>
          </a:prstGeom>
        </p:spPr>
        <p:txBody>
          <a:bodyPr lIns="0" tIns="0" rIns="0" bIns="0" anchor="t" anchorCtr="0"/>
          <a:lstStyle>
            <a:lvl1pPr marL="0" indent="0" algn="l" defTabSz="1218987" rtl="0" eaLnBrk="1" latinLnBrk="0" hangingPunct="1">
              <a:lnSpc>
                <a:spcPct val="90000"/>
              </a:lnSpc>
              <a:spcBef>
                <a:spcPct val="0"/>
              </a:spcBef>
              <a:buNone/>
              <a:defRPr lang="en-US" sz="2600" b="0" kern="1200" cap="none" spc="0" baseline="0" dirty="0">
                <a:solidFill>
                  <a:schemeClr val="bg1"/>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Speaker name | Date</a:t>
            </a:r>
          </a:p>
        </p:txBody>
      </p:sp>
      <p:grpSp>
        <p:nvGrpSpPr>
          <p:cNvPr id="68" name="Group 67">
            <a:extLst>
              <a:ext uri="{FF2B5EF4-FFF2-40B4-BE49-F238E27FC236}">
                <a16:creationId xmlns:a16="http://schemas.microsoft.com/office/drawing/2014/main" id="{C178D7C6-5801-6B30-A6A7-963788E95D85}"/>
              </a:ext>
            </a:extLst>
          </p:cNvPr>
          <p:cNvGrpSpPr>
            <a:grpSpLocks noChangeAspect="1"/>
          </p:cNvGrpSpPr>
          <p:nvPr userDrawn="1"/>
        </p:nvGrpSpPr>
        <p:grpSpPr>
          <a:xfrm rot="16200000">
            <a:off x="10152631" y="2542790"/>
            <a:ext cx="3058160" cy="1020580"/>
            <a:chOff x="547688" y="952500"/>
            <a:chExt cx="12190413" cy="4067175"/>
          </a:xfrm>
        </p:grpSpPr>
        <p:sp>
          <p:nvSpPr>
            <p:cNvPr id="69" name="Rectangle 68">
              <a:extLst>
                <a:ext uri="{FF2B5EF4-FFF2-40B4-BE49-F238E27FC236}">
                  <a16:creationId xmlns:a16="http://schemas.microsoft.com/office/drawing/2014/main" id="{69E9C34A-28EF-207E-149B-9EBED2862D65}"/>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7">
              <a:extLst>
                <a:ext uri="{FF2B5EF4-FFF2-40B4-BE49-F238E27FC236}">
                  <a16:creationId xmlns:a16="http://schemas.microsoft.com/office/drawing/2014/main" id="{158C3A6B-F5BB-E37E-DB3D-C1ABEA07F210}"/>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8">
              <a:extLst>
                <a:ext uri="{FF2B5EF4-FFF2-40B4-BE49-F238E27FC236}">
                  <a16:creationId xmlns:a16="http://schemas.microsoft.com/office/drawing/2014/main" id="{A56AE87F-217D-4207-F227-987A2E7FEBFA}"/>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9">
              <a:extLst>
                <a:ext uri="{FF2B5EF4-FFF2-40B4-BE49-F238E27FC236}">
                  <a16:creationId xmlns:a16="http://schemas.microsoft.com/office/drawing/2014/main" id="{D65BCC2D-74A9-8E37-6BBC-33B74966DAC1}"/>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10">
              <a:extLst>
                <a:ext uri="{FF2B5EF4-FFF2-40B4-BE49-F238E27FC236}">
                  <a16:creationId xmlns:a16="http://schemas.microsoft.com/office/drawing/2014/main" id="{BA8558ED-E4BF-D888-EF3B-A311AFE8C47C}"/>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10">
              <a:extLst>
                <a:ext uri="{FF2B5EF4-FFF2-40B4-BE49-F238E27FC236}">
                  <a16:creationId xmlns:a16="http://schemas.microsoft.com/office/drawing/2014/main" id="{AFF1776F-9DBA-D51E-8F71-E1FB30D76794}"/>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11">
              <a:extLst>
                <a:ext uri="{FF2B5EF4-FFF2-40B4-BE49-F238E27FC236}">
                  <a16:creationId xmlns:a16="http://schemas.microsoft.com/office/drawing/2014/main" id="{820D6E3B-9704-EBDF-9D0D-A571A36CBC77}"/>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76" name="Freeform 5">
            <a:extLst>
              <a:ext uri="{FF2B5EF4-FFF2-40B4-BE49-F238E27FC236}">
                <a16:creationId xmlns:a16="http://schemas.microsoft.com/office/drawing/2014/main" id="{C002511A-253F-7F55-6C4F-3D51611D3CBF}"/>
              </a:ext>
            </a:extLst>
          </p:cNvPr>
          <p:cNvSpPr>
            <a:spLocks noChangeAspect="1" noEditPoints="1"/>
          </p:cNvSpPr>
          <p:nvPr userDrawn="1"/>
        </p:nvSpPr>
        <p:spPr bwMode="auto">
          <a:xfrm>
            <a:off x="750529" y="762000"/>
            <a:ext cx="3942091" cy="312470"/>
          </a:xfrm>
          <a:custGeom>
            <a:avLst/>
            <a:gdLst>
              <a:gd name="T0" fmla="*/ 557 w 2065"/>
              <a:gd name="T1" fmla="*/ 102 h 161"/>
              <a:gd name="T2" fmla="*/ 510 w 2065"/>
              <a:gd name="T3" fmla="*/ 76 h 161"/>
              <a:gd name="T4" fmla="*/ 583 w 2065"/>
              <a:gd name="T5" fmla="*/ 36 h 161"/>
              <a:gd name="T6" fmla="*/ 641 w 2065"/>
              <a:gd name="T7" fmla="*/ 34 h 161"/>
              <a:gd name="T8" fmla="*/ 2038 w 2065"/>
              <a:gd name="T9" fmla="*/ 1 h 161"/>
              <a:gd name="T10" fmla="*/ 706 w 2065"/>
              <a:gd name="T11" fmla="*/ 59 h 161"/>
              <a:gd name="T12" fmla="*/ 733 w 2065"/>
              <a:gd name="T13" fmla="*/ 100 h 161"/>
              <a:gd name="T14" fmla="*/ 1999 w 2065"/>
              <a:gd name="T15" fmla="*/ 132 h 161"/>
              <a:gd name="T16" fmla="*/ 760 w 2065"/>
              <a:gd name="T17" fmla="*/ 84 h 161"/>
              <a:gd name="T18" fmla="*/ 787 w 2065"/>
              <a:gd name="T19" fmla="*/ 93 h 161"/>
              <a:gd name="T20" fmla="*/ 828 w 2065"/>
              <a:gd name="T21" fmla="*/ 76 h 161"/>
              <a:gd name="T22" fmla="*/ 133 w 2065"/>
              <a:gd name="T23" fmla="*/ 36 h 161"/>
              <a:gd name="T24" fmla="*/ 166 w 2065"/>
              <a:gd name="T25" fmla="*/ 78 h 161"/>
              <a:gd name="T26" fmla="*/ 225 w 2065"/>
              <a:gd name="T27" fmla="*/ 132 h 161"/>
              <a:gd name="T28" fmla="*/ 32 w 2065"/>
              <a:gd name="T29" fmla="*/ 40 h 161"/>
              <a:gd name="T30" fmla="*/ 5 w 2065"/>
              <a:gd name="T31" fmla="*/ 43 h 161"/>
              <a:gd name="T32" fmla="*/ 0 w 2065"/>
              <a:gd name="T33" fmla="*/ 114 h 161"/>
              <a:gd name="T34" fmla="*/ 266 w 2065"/>
              <a:gd name="T35" fmla="*/ 43 h 161"/>
              <a:gd name="T36" fmla="*/ 258 w 2065"/>
              <a:gd name="T37" fmla="*/ 104 h 161"/>
              <a:gd name="T38" fmla="*/ 347 w 2065"/>
              <a:gd name="T39" fmla="*/ 76 h 161"/>
              <a:gd name="T40" fmla="*/ 285 w 2065"/>
              <a:gd name="T41" fmla="*/ 103 h 161"/>
              <a:gd name="T42" fmla="*/ 429 w 2065"/>
              <a:gd name="T43" fmla="*/ 36 h 161"/>
              <a:gd name="T44" fmla="*/ 479 w 2065"/>
              <a:gd name="T45" fmla="*/ 128 h 161"/>
              <a:gd name="T46" fmla="*/ 479 w 2065"/>
              <a:gd name="T47" fmla="*/ 36 h 161"/>
              <a:gd name="T48" fmla="*/ 354 w 2065"/>
              <a:gd name="T49" fmla="*/ 132 h 161"/>
              <a:gd name="T50" fmla="*/ 382 w 2065"/>
              <a:gd name="T51" fmla="*/ 55 h 161"/>
              <a:gd name="T52" fmla="*/ 1387 w 2065"/>
              <a:gd name="T53" fmla="*/ 84 h 161"/>
              <a:gd name="T54" fmla="*/ 1335 w 2065"/>
              <a:gd name="T55" fmla="*/ 58 h 161"/>
              <a:gd name="T56" fmla="*/ 1834 w 2065"/>
              <a:gd name="T57" fmla="*/ 132 h 161"/>
              <a:gd name="T58" fmla="*/ 1748 w 2065"/>
              <a:gd name="T59" fmla="*/ 34 h 161"/>
              <a:gd name="T60" fmla="*/ 1748 w 2065"/>
              <a:gd name="T61" fmla="*/ 34 h 161"/>
              <a:gd name="T62" fmla="*/ 1773 w 2065"/>
              <a:gd name="T63" fmla="*/ 84 h 161"/>
              <a:gd name="T64" fmla="*/ 1465 w 2065"/>
              <a:gd name="T65" fmla="*/ 109 h 161"/>
              <a:gd name="T66" fmla="*/ 1480 w 2065"/>
              <a:gd name="T67" fmla="*/ 148 h 161"/>
              <a:gd name="T68" fmla="*/ 1442 w 2065"/>
              <a:gd name="T69" fmla="*/ 102 h 161"/>
              <a:gd name="T70" fmla="*/ 1675 w 2065"/>
              <a:gd name="T71" fmla="*/ 37 h 161"/>
              <a:gd name="T72" fmla="*/ 1655 w 2065"/>
              <a:gd name="T73" fmla="*/ 7 h 161"/>
              <a:gd name="T74" fmla="*/ 1648 w 2065"/>
              <a:gd name="T75" fmla="*/ 132 h 161"/>
              <a:gd name="T76" fmla="*/ 1526 w 2065"/>
              <a:gd name="T77" fmla="*/ 36 h 161"/>
              <a:gd name="T78" fmla="*/ 1528 w 2065"/>
              <a:gd name="T79" fmla="*/ 161 h 161"/>
              <a:gd name="T80" fmla="*/ 980 w 2065"/>
              <a:gd name="T81" fmla="*/ 49 h 161"/>
              <a:gd name="T82" fmla="*/ 997 w 2065"/>
              <a:gd name="T83" fmla="*/ 59 h 161"/>
              <a:gd name="T84" fmla="*/ 1250 w 2065"/>
              <a:gd name="T85" fmla="*/ 132 h 161"/>
              <a:gd name="T86" fmla="*/ 1075 w 2065"/>
              <a:gd name="T87" fmla="*/ 49 h 161"/>
              <a:gd name="T88" fmla="*/ 1092 w 2065"/>
              <a:gd name="T89" fmla="*/ 59 h 161"/>
              <a:gd name="T90" fmla="*/ 910 w 2065"/>
              <a:gd name="T91" fmla="*/ 111 h 161"/>
              <a:gd name="T92" fmla="*/ 909 w 2065"/>
              <a:gd name="T93" fmla="*/ 34 h 161"/>
              <a:gd name="T94" fmla="*/ 910 w 2065"/>
              <a:gd name="T95" fmla="*/ 111 h 161"/>
              <a:gd name="T96" fmla="*/ 1962 w 2065"/>
              <a:gd name="T97" fmla="*/ 77 h 161"/>
              <a:gd name="T98" fmla="*/ 1962 w 2065"/>
              <a:gd name="T99" fmla="*/ 132 h 161"/>
              <a:gd name="T100" fmla="*/ 1941 w 2065"/>
              <a:gd name="T101" fmla="*/ 115 h 161"/>
              <a:gd name="T102" fmla="*/ 1193 w 2065"/>
              <a:gd name="T103" fmla="*/ 34 h 161"/>
              <a:gd name="T104" fmla="*/ 1193 w 2065"/>
              <a:gd name="T105" fmla="*/ 34 h 161"/>
              <a:gd name="T106" fmla="*/ 1218 w 2065"/>
              <a:gd name="T107"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5" h="161">
                <a:moveTo>
                  <a:pt x="530" y="34"/>
                </a:moveTo>
                <a:cubicBezTo>
                  <a:pt x="502" y="34"/>
                  <a:pt x="483" y="57"/>
                  <a:pt x="483" y="84"/>
                </a:cubicBezTo>
                <a:cubicBezTo>
                  <a:pt x="483" y="84"/>
                  <a:pt x="483" y="84"/>
                  <a:pt x="483" y="84"/>
                </a:cubicBezTo>
                <a:cubicBezTo>
                  <a:pt x="483" y="114"/>
                  <a:pt x="504" y="134"/>
                  <a:pt x="533" y="134"/>
                </a:cubicBezTo>
                <a:cubicBezTo>
                  <a:pt x="551" y="134"/>
                  <a:pt x="563" y="127"/>
                  <a:pt x="572" y="116"/>
                </a:cubicBezTo>
                <a:cubicBezTo>
                  <a:pt x="557" y="102"/>
                  <a:pt x="557" y="102"/>
                  <a:pt x="557" y="102"/>
                </a:cubicBezTo>
                <a:cubicBezTo>
                  <a:pt x="549" y="109"/>
                  <a:pt x="543" y="112"/>
                  <a:pt x="533" y="112"/>
                </a:cubicBezTo>
                <a:cubicBezTo>
                  <a:pt x="521" y="112"/>
                  <a:pt x="513" y="106"/>
                  <a:pt x="510" y="93"/>
                </a:cubicBezTo>
                <a:cubicBezTo>
                  <a:pt x="577" y="93"/>
                  <a:pt x="577" y="93"/>
                  <a:pt x="577" y="93"/>
                </a:cubicBezTo>
                <a:cubicBezTo>
                  <a:pt x="577" y="91"/>
                  <a:pt x="577" y="88"/>
                  <a:pt x="577" y="86"/>
                </a:cubicBezTo>
                <a:cubicBezTo>
                  <a:pt x="577" y="59"/>
                  <a:pt x="563" y="34"/>
                  <a:pt x="530" y="34"/>
                </a:cubicBezTo>
                <a:close/>
                <a:moveTo>
                  <a:pt x="510" y="76"/>
                </a:moveTo>
                <a:cubicBezTo>
                  <a:pt x="512" y="64"/>
                  <a:pt x="519" y="56"/>
                  <a:pt x="530" y="56"/>
                </a:cubicBezTo>
                <a:cubicBezTo>
                  <a:pt x="542" y="56"/>
                  <a:pt x="549" y="64"/>
                  <a:pt x="551" y="76"/>
                </a:cubicBezTo>
                <a:lnTo>
                  <a:pt x="510" y="76"/>
                </a:lnTo>
                <a:close/>
                <a:moveTo>
                  <a:pt x="610" y="55"/>
                </a:moveTo>
                <a:cubicBezTo>
                  <a:pt x="610" y="36"/>
                  <a:pt x="610" y="36"/>
                  <a:pt x="610" y="36"/>
                </a:cubicBezTo>
                <a:cubicBezTo>
                  <a:pt x="583" y="36"/>
                  <a:pt x="583" y="36"/>
                  <a:pt x="583" y="36"/>
                </a:cubicBezTo>
                <a:cubicBezTo>
                  <a:pt x="583" y="132"/>
                  <a:pt x="583" y="132"/>
                  <a:pt x="583" y="132"/>
                </a:cubicBezTo>
                <a:cubicBezTo>
                  <a:pt x="610" y="132"/>
                  <a:pt x="610" y="132"/>
                  <a:pt x="610" y="132"/>
                </a:cubicBezTo>
                <a:cubicBezTo>
                  <a:pt x="610" y="97"/>
                  <a:pt x="610" y="97"/>
                  <a:pt x="610" y="97"/>
                </a:cubicBezTo>
                <a:cubicBezTo>
                  <a:pt x="610" y="74"/>
                  <a:pt x="621" y="63"/>
                  <a:pt x="640" y="63"/>
                </a:cubicBezTo>
                <a:cubicBezTo>
                  <a:pt x="641" y="63"/>
                  <a:pt x="641" y="63"/>
                  <a:pt x="641" y="63"/>
                </a:cubicBezTo>
                <a:cubicBezTo>
                  <a:pt x="641" y="34"/>
                  <a:pt x="641" y="34"/>
                  <a:pt x="641" y="34"/>
                </a:cubicBezTo>
                <a:cubicBezTo>
                  <a:pt x="625" y="33"/>
                  <a:pt x="616" y="42"/>
                  <a:pt x="610" y="55"/>
                </a:cubicBezTo>
                <a:close/>
                <a:moveTo>
                  <a:pt x="2038" y="1"/>
                </a:moveTo>
                <a:cubicBezTo>
                  <a:pt x="2038" y="132"/>
                  <a:pt x="2038" y="132"/>
                  <a:pt x="2038" y="132"/>
                </a:cubicBezTo>
                <a:cubicBezTo>
                  <a:pt x="2065" y="132"/>
                  <a:pt x="2065" y="132"/>
                  <a:pt x="2065" y="132"/>
                </a:cubicBezTo>
                <a:cubicBezTo>
                  <a:pt x="2065" y="1"/>
                  <a:pt x="2065" y="1"/>
                  <a:pt x="2065" y="1"/>
                </a:cubicBezTo>
                <a:lnTo>
                  <a:pt x="2038" y="1"/>
                </a:lnTo>
                <a:close/>
                <a:moveTo>
                  <a:pt x="733" y="11"/>
                </a:moveTo>
                <a:cubicBezTo>
                  <a:pt x="706" y="11"/>
                  <a:pt x="706" y="11"/>
                  <a:pt x="706" y="11"/>
                </a:cubicBezTo>
                <a:cubicBezTo>
                  <a:pt x="706" y="36"/>
                  <a:pt x="706" y="36"/>
                  <a:pt x="706" y="36"/>
                </a:cubicBezTo>
                <a:cubicBezTo>
                  <a:pt x="694" y="36"/>
                  <a:pt x="694" y="36"/>
                  <a:pt x="694" y="36"/>
                </a:cubicBezTo>
                <a:cubicBezTo>
                  <a:pt x="694" y="59"/>
                  <a:pt x="694" y="59"/>
                  <a:pt x="694" y="59"/>
                </a:cubicBezTo>
                <a:cubicBezTo>
                  <a:pt x="706" y="59"/>
                  <a:pt x="706" y="59"/>
                  <a:pt x="706" y="59"/>
                </a:cubicBezTo>
                <a:cubicBezTo>
                  <a:pt x="706" y="105"/>
                  <a:pt x="706" y="105"/>
                  <a:pt x="706" y="105"/>
                </a:cubicBezTo>
                <a:cubicBezTo>
                  <a:pt x="706" y="127"/>
                  <a:pt x="717" y="134"/>
                  <a:pt x="734" y="134"/>
                </a:cubicBezTo>
                <a:cubicBezTo>
                  <a:pt x="743" y="134"/>
                  <a:pt x="750" y="132"/>
                  <a:pt x="755" y="128"/>
                </a:cubicBezTo>
                <a:cubicBezTo>
                  <a:pt x="755" y="106"/>
                  <a:pt x="755" y="106"/>
                  <a:pt x="755" y="106"/>
                </a:cubicBezTo>
                <a:cubicBezTo>
                  <a:pt x="752" y="108"/>
                  <a:pt x="747" y="110"/>
                  <a:pt x="742" y="110"/>
                </a:cubicBezTo>
                <a:cubicBezTo>
                  <a:pt x="736" y="110"/>
                  <a:pt x="733" y="107"/>
                  <a:pt x="733" y="100"/>
                </a:cubicBezTo>
                <a:cubicBezTo>
                  <a:pt x="733" y="59"/>
                  <a:pt x="733" y="59"/>
                  <a:pt x="733" y="59"/>
                </a:cubicBezTo>
                <a:cubicBezTo>
                  <a:pt x="756" y="59"/>
                  <a:pt x="756" y="59"/>
                  <a:pt x="756" y="59"/>
                </a:cubicBezTo>
                <a:cubicBezTo>
                  <a:pt x="756" y="36"/>
                  <a:pt x="756" y="36"/>
                  <a:pt x="756" y="36"/>
                </a:cubicBezTo>
                <a:cubicBezTo>
                  <a:pt x="733" y="36"/>
                  <a:pt x="733" y="36"/>
                  <a:pt x="733" y="36"/>
                </a:cubicBezTo>
                <a:lnTo>
                  <a:pt x="733" y="11"/>
                </a:lnTo>
                <a:close/>
                <a:moveTo>
                  <a:pt x="1999" y="132"/>
                </a:moveTo>
                <a:cubicBezTo>
                  <a:pt x="2027" y="132"/>
                  <a:pt x="2027" y="132"/>
                  <a:pt x="2027" y="132"/>
                </a:cubicBezTo>
                <a:cubicBezTo>
                  <a:pt x="2027" y="1"/>
                  <a:pt x="2027" y="1"/>
                  <a:pt x="2027" y="1"/>
                </a:cubicBezTo>
                <a:cubicBezTo>
                  <a:pt x="1999" y="1"/>
                  <a:pt x="1999" y="1"/>
                  <a:pt x="1999" y="1"/>
                </a:cubicBezTo>
                <a:lnTo>
                  <a:pt x="1999" y="132"/>
                </a:lnTo>
                <a:close/>
                <a:moveTo>
                  <a:pt x="807" y="34"/>
                </a:moveTo>
                <a:cubicBezTo>
                  <a:pt x="779" y="34"/>
                  <a:pt x="760" y="57"/>
                  <a:pt x="760" y="84"/>
                </a:cubicBezTo>
                <a:cubicBezTo>
                  <a:pt x="760" y="84"/>
                  <a:pt x="760" y="84"/>
                  <a:pt x="760" y="84"/>
                </a:cubicBezTo>
                <a:cubicBezTo>
                  <a:pt x="760" y="114"/>
                  <a:pt x="781" y="134"/>
                  <a:pt x="810" y="134"/>
                </a:cubicBezTo>
                <a:cubicBezTo>
                  <a:pt x="827" y="134"/>
                  <a:pt x="840" y="127"/>
                  <a:pt x="849" y="116"/>
                </a:cubicBezTo>
                <a:cubicBezTo>
                  <a:pt x="834" y="102"/>
                  <a:pt x="834" y="102"/>
                  <a:pt x="834" y="102"/>
                </a:cubicBezTo>
                <a:cubicBezTo>
                  <a:pt x="826" y="109"/>
                  <a:pt x="820" y="112"/>
                  <a:pt x="810" y="112"/>
                </a:cubicBezTo>
                <a:cubicBezTo>
                  <a:pt x="798" y="112"/>
                  <a:pt x="790" y="106"/>
                  <a:pt x="787" y="93"/>
                </a:cubicBezTo>
                <a:cubicBezTo>
                  <a:pt x="854" y="93"/>
                  <a:pt x="854" y="93"/>
                  <a:pt x="854" y="93"/>
                </a:cubicBezTo>
                <a:cubicBezTo>
                  <a:pt x="854" y="91"/>
                  <a:pt x="854" y="88"/>
                  <a:pt x="854" y="86"/>
                </a:cubicBezTo>
                <a:cubicBezTo>
                  <a:pt x="854" y="59"/>
                  <a:pt x="839" y="34"/>
                  <a:pt x="807" y="34"/>
                </a:cubicBezTo>
                <a:close/>
                <a:moveTo>
                  <a:pt x="787" y="76"/>
                </a:moveTo>
                <a:cubicBezTo>
                  <a:pt x="789" y="64"/>
                  <a:pt x="796" y="56"/>
                  <a:pt x="807" y="56"/>
                </a:cubicBezTo>
                <a:cubicBezTo>
                  <a:pt x="819" y="56"/>
                  <a:pt x="826" y="64"/>
                  <a:pt x="828" y="76"/>
                </a:cubicBezTo>
                <a:lnTo>
                  <a:pt x="787" y="76"/>
                </a:lnTo>
                <a:close/>
                <a:moveTo>
                  <a:pt x="220" y="34"/>
                </a:moveTo>
                <a:cubicBezTo>
                  <a:pt x="207" y="34"/>
                  <a:pt x="197" y="39"/>
                  <a:pt x="189" y="49"/>
                </a:cubicBezTo>
                <a:cubicBezTo>
                  <a:pt x="184" y="40"/>
                  <a:pt x="174" y="34"/>
                  <a:pt x="161" y="34"/>
                </a:cubicBezTo>
                <a:cubicBezTo>
                  <a:pt x="148" y="34"/>
                  <a:pt x="139" y="41"/>
                  <a:pt x="133" y="50"/>
                </a:cubicBezTo>
                <a:cubicBezTo>
                  <a:pt x="133" y="36"/>
                  <a:pt x="133" y="36"/>
                  <a:pt x="133" y="36"/>
                </a:cubicBezTo>
                <a:cubicBezTo>
                  <a:pt x="106" y="36"/>
                  <a:pt x="106" y="36"/>
                  <a:pt x="106" y="36"/>
                </a:cubicBezTo>
                <a:cubicBezTo>
                  <a:pt x="106" y="132"/>
                  <a:pt x="106" y="132"/>
                  <a:pt x="106" y="132"/>
                </a:cubicBezTo>
                <a:cubicBezTo>
                  <a:pt x="133" y="132"/>
                  <a:pt x="133" y="132"/>
                  <a:pt x="133" y="132"/>
                </a:cubicBezTo>
                <a:cubicBezTo>
                  <a:pt x="133" y="78"/>
                  <a:pt x="133" y="78"/>
                  <a:pt x="133" y="78"/>
                </a:cubicBezTo>
                <a:cubicBezTo>
                  <a:pt x="133" y="65"/>
                  <a:pt x="139" y="59"/>
                  <a:pt x="150" y="59"/>
                </a:cubicBezTo>
                <a:cubicBezTo>
                  <a:pt x="160" y="59"/>
                  <a:pt x="166" y="65"/>
                  <a:pt x="166" y="78"/>
                </a:cubicBezTo>
                <a:cubicBezTo>
                  <a:pt x="166" y="132"/>
                  <a:pt x="166" y="132"/>
                  <a:pt x="166" y="132"/>
                </a:cubicBezTo>
                <a:cubicBezTo>
                  <a:pt x="193" y="132"/>
                  <a:pt x="193" y="132"/>
                  <a:pt x="193" y="132"/>
                </a:cubicBezTo>
                <a:cubicBezTo>
                  <a:pt x="193" y="78"/>
                  <a:pt x="193" y="78"/>
                  <a:pt x="193" y="78"/>
                </a:cubicBezTo>
                <a:cubicBezTo>
                  <a:pt x="193" y="65"/>
                  <a:pt x="199" y="59"/>
                  <a:pt x="209" y="59"/>
                </a:cubicBezTo>
                <a:cubicBezTo>
                  <a:pt x="220" y="59"/>
                  <a:pt x="225" y="65"/>
                  <a:pt x="225" y="78"/>
                </a:cubicBezTo>
                <a:cubicBezTo>
                  <a:pt x="225" y="132"/>
                  <a:pt x="225" y="132"/>
                  <a:pt x="225" y="132"/>
                </a:cubicBezTo>
                <a:cubicBezTo>
                  <a:pt x="253" y="132"/>
                  <a:pt x="253" y="132"/>
                  <a:pt x="253" y="132"/>
                </a:cubicBezTo>
                <a:cubicBezTo>
                  <a:pt x="253" y="69"/>
                  <a:pt x="253" y="69"/>
                  <a:pt x="253" y="69"/>
                </a:cubicBezTo>
                <a:cubicBezTo>
                  <a:pt x="253" y="46"/>
                  <a:pt x="240" y="34"/>
                  <a:pt x="220" y="34"/>
                </a:cubicBezTo>
                <a:close/>
                <a:moveTo>
                  <a:pt x="59" y="57"/>
                </a:moveTo>
                <a:cubicBezTo>
                  <a:pt x="38" y="51"/>
                  <a:pt x="32" y="49"/>
                  <a:pt x="32" y="40"/>
                </a:cubicBezTo>
                <a:cubicBezTo>
                  <a:pt x="32" y="40"/>
                  <a:pt x="32" y="40"/>
                  <a:pt x="32" y="40"/>
                </a:cubicBezTo>
                <a:cubicBezTo>
                  <a:pt x="32" y="34"/>
                  <a:pt x="38" y="29"/>
                  <a:pt x="48" y="29"/>
                </a:cubicBezTo>
                <a:cubicBezTo>
                  <a:pt x="59" y="29"/>
                  <a:pt x="70" y="34"/>
                  <a:pt x="81" y="41"/>
                </a:cubicBezTo>
                <a:cubicBezTo>
                  <a:pt x="95" y="21"/>
                  <a:pt x="95" y="21"/>
                  <a:pt x="95" y="21"/>
                </a:cubicBezTo>
                <a:cubicBezTo>
                  <a:pt x="83" y="10"/>
                  <a:pt x="67" y="5"/>
                  <a:pt x="49" y="5"/>
                </a:cubicBezTo>
                <a:cubicBezTo>
                  <a:pt x="23" y="5"/>
                  <a:pt x="5" y="20"/>
                  <a:pt x="5" y="43"/>
                </a:cubicBezTo>
                <a:cubicBezTo>
                  <a:pt x="5" y="43"/>
                  <a:pt x="5" y="43"/>
                  <a:pt x="5" y="43"/>
                </a:cubicBezTo>
                <a:cubicBezTo>
                  <a:pt x="5" y="68"/>
                  <a:pt x="21" y="75"/>
                  <a:pt x="46" y="81"/>
                </a:cubicBezTo>
                <a:cubicBezTo>
                  <a:pt x="67" y="87"/>
                  <a:pt x="72" y="90"/>
                  <a:pt x="72" y="97"/>
                </a:cubicBezTo>
                <a:cubicBezTo>
                  <a:pt x="72" y="98"/>
                  <a:pt x="72" y="98"/>
                  <a:pt x="72" y="98"/>
                </a:cubicBezTo>
                <a:cubicBezTo>
                  <a:pt x="72" y="105"/>
                  <a:pt x="65" y="109"/>
                  <a:pt x="54" y="109"/>
                </a:cubicBezTo>
                <a:cubicBezTo>
                  <a:pt x="39" y="109"/>
                  <a:pt x="27" y="104"/>
                  <a:pt x="16" y="94"/>
                </a:cubicBezTo>
                <a:cubicBezTo>
                  <a:pt x="0" y="114"/>
                  <a:pt x="0" y="114"/>
                  <a:pt x="0" y="114"/>
                </a:cubicBezTo>
                <a:cubicBezTo>
                  <a:pt x="15" y="127"/>
                  <a:pt x="34" y="134"/>
                  <a:pt x="53" y="134"/>
                </a:cubicBezTo>
                <a:cubicBezTo>
                  <a:pt x="80" y="134"/>
                  <a:pt x="99" y="120"/>
                  <a:pt x="99" y="95"/>
                </a:cubicBezTo>
                <a:cubicBezTo>
                  <a:pt x="99" y="95"/>
                  <a:pt x="99" y="95"/>
                  <a:pt x="99" y="95"/>
                </a:cubicBezTo>
                <a:cubicBezTo>
                  <a:pt x="99" y="73"/>
                  <a:pt x="85" y="63"/>
                  <a:pt x="59" y="57"/>
                </a:cubicBezTo>
                <a:close/>
                <a:moveTo>
                  <a:pt x="304" y="35"/>
                </a:moveTo>
                <a:cubicBezTo>
                  <a:pt x="287" y="35"/>
                  <a:pt x="277" y="38"/>
                  <a:pt x="266" y="43"/>
                </a:cubicBezTo>
                <a:cubicBezTo>
                  <a:pt x="273" y="63"/>
                  <a:pt x="273" y="63"/>
                  <a:pt x="273" y="63"/>
                </a:cubicBezTo>
                <a:cubicBezTo>
                  <a:pt x="282" y="60"/>
                  <a:pt x="289" y="58"/>
                  <a:pt x="300" y="58"/>
                </a:cubicBezTo>
                <a:cubicBezTo>
                  <a:pt x="313" y="58"/>
                  <a:pt x="320" y="64"/>
                  <a:pt x="320" y="76"/>
                </a:cubicBezTo>
                <a:cubicBezTo>
                  <a:pt x="320" y="77"/>
                  <a:pt x="320" y="77"/>
                  <a:pt x="320" y="77"/>
                </a:cubicBezTo>
                <a:cubicBezTo>
                  <a:pt x="314" y="75"/>
                  <a:pt x="307" y="73"/>
                  <a:pt x="297" y="73"/>
                </a:cubicBezTo>
                <a:cubicBezTo>
                  <a:pt x="274" y="73"/>
                  <a:pt x="258" y="83"/>
                  <a:pt x="258" y="104"/>
                </a:cubicBezTo>
                <a:cubicBezTo>
                  <a:pt x="258" y="104"/>
                  <a:pt x="258" y="104"/>
                  <a:pt x="258" y="104"/>
                </a:cubicBezTo>
                <a:cubicBezTo>
                  <a:pt x="258" y="123"/>
                  <a:pt x="273" y="134"/>
                  <a:pt x="291" y="134"/>
                </a:cubicBezTo>
                <a:cubicBezTo>
                  <a:pt x="304" y="134"/>
                  <a:pt x="314" y="129"/>
                  <a:pt x="320" y="122"/>
                </a:cubicBezTo>
                <a:cubicBezTo>
                  <a:pt x="320" y="132"/>
                  <a:pt x="320" y="132"/>
                  <a:pt x="320" y="132"/>
                </a:cubicBezTo>
                <a:cubicBezTo>
                  <a:pt x="347" y="132"/>
                  <a:pt x="347" y="132"/>
                  <a:pt x="347" y="132"/>
                </a:cubicBezTo>
                <a:cubicBezTo>
                  <a:pt x="347" y="76"/>
                  <a:pt x="347" y="76"/>
                  <a:pt x="347" y="76"/>
                </a:cubicBezTo>
                <a:cubicBezTo>
                  <a:pt x="347" y="63"/>
                  <a:pt x="343" y="53"/>
                  <a:pt x="336" y="46"/>
                </a:cubicBezTo>
                <a:cubicBezTo>
                  <a:pt x="329" y="39"/>
                  <a:pt x="319" y="35"/>
                  <a:pt x="304" y="35"/>
                </a:cubicBezTo>
                <a:close/>
                <a:moveTo>
                  <a:pt x="321" y="98"/>
                </a:moveTo>
                <a:cubicBezTo>
                  <a:pt x="321" y="108"/>
                  <a:pt x="312" y="115"/>
                  <a:pt x="299" y="115"/>
                </a:cubicBezTo>
                <a:cubicBezTo>
                  <a:pt x="291" y="115"/>
                  <a:pt x="285" y="111"/>
                  <a:pt x="285" y="103"/>
                </a:cubicBezTo>
                <a:cubicBezTo>
                  <a:pt x="285" y="103"/>
                  <a:pt x="285" y="103"/>
                  <a:pt x="285" y="103"/>
                </a:cubicBezTo>
                <a:cubicBezTo>
                  <a:pt x="285" y="94"/>
                  <a:pt x="292" y="90"/>
                  <a:pt x="303" y="90"/>
                </a:cubicBezTo>
                <a:cubicBezTo>
                  <a:pt x="310" y="90"/>
                  <a:pt x="316" y="91"/>
                  <a:pt x="321" y="93"/>
                </a:cubicBezTo>
                <a:lnTo>
                  <a:pt x="321" y="98"/>
                </a:lnTo>
                <a:close/>
                <a:moveTo>
                  <a:pt x="457" y="11"/>
                </a:moveTo>
                <a:cubicBezTo>
                  <a:pt x="429" y="11"/>
                  <a:pt x="429" y="11"/>
                  <a:pt x="429" y="11"/>
                </a:cubicBezTo>
                <a:cubicBezTo>
                  <a:pt x="429" y="36"/>
                  <a:pt x="429" y="36"/>
                  <a:pt x="429" y="36"/>
                </a:cubicBezTo>
                <a:cubicBezTo>
                  <a:pt x="418" y="36"/>
                  <a:pt x="418" y="36"/>
                  <a:pt x="418" y="36"/>
                </a:cubicBezTo>
                <a:cubicBezTo>
                  <a:pt x="418" y="59"/>
                  <a:pt x="418" y="59"/>
                  <a:pt x="418" y="59"/>
                </a:cubicBezTo>
                <a:cubicBezTo>
                  <a:pt x="429" y="59"/>
                  <a:pt x="429" y="59"/>
                  <a:pt x="429" y="59"/>
                </a:cubicBezTo>
                <a:cubicBezTo>
                  <a:pt x="429" y="105"/>
                  <a:pt x="429" y="105"/>
                  <a:pt x="429" y="105"/>
                </a:cubicBezTo>
                <a:cubicBezTo>
                  <a:pt x="429" y="127"/>
                  <a:pt x="441" y="134"/>
                  <a:pt x="457" y="134"/>
                </a:cubicBezTo>
                <a:cubicBezTo>
                  <a:pt x="466" y="134"/>
                  <a:pt x="473" y="132"/>
                  <a:pt x="479" y="128"/>
                </a:cubicBezTo>
                <a:cubicBezTo>
                  <a:pt x="479" y="106"/>
                  <a:pt x="479" y="106"/>
                  <a:pt x="479" y="106"/>
                </a:cubicBezTo>
                <a:cubicBezTo>
                  <a:pt x="475" y="108"/>
                  <a:pt x="470" y="110"/>
                  <a:pt x="465" y="110"/>
                </a:cubicBezTo>
                <a:cubicBezTo>
                  <a:pt x="459" y="110"/>
                  <a:pt x="457" y="107"/>
                  <a:pt x="457" y="100"/>
                </a:cubicBezTo>
                <a:cubicBezTo>
                  <a:pt x="457" y="59"/>
                  <a:pt x="457" y="59"/>
                  <a:pt x="457" y="59"/>
                </a:cubicBezTo>
                <a:cubicBezTo>
                  <a:pt x="479" y="59"/>
                  <a:pt x="479" y="59"/>
                  <a:pt x="479" y="59"/>
                </a:cubicBezTo>
                <a:cubicBezTo>
                  <a:pt x="479" y="36"/>
                  <a:pt x="479" y="36"/>
                  <a:pt x="479" y="36"/>
                </a:cubicBezTo>
                <a:cubicBezTo>
                  <a:pt x="457" y="36"/>
                  <a:pt x="457" y="36"/>
                  <a:pt x="457" y="36"/>
                </a:cubicBezTo>
                <a:lnTo>
                  <a:pt x="457" y="11"/>
                </a:lnTo>
                <a:close/>
                <a:moveTo>
                  <a:pt x="382" y="55"/>
                </a:moveTo>
                <a:cubicBezTo>
                  <a:pt x="382" y="36"/>
                  <a:pt x="382" y="36"/>
                  <a:pt x="382" y="36"/>
                </a:cubicBezTo>
                <a:cubicBezTo>
                  <a:pt x="354" y="36"/>
                  <a:pt x="354" y="36"/>
                  <a:pt x="354" y="36"/>
                </a:cubicBezTo>
                <a:cubicBezTo>
                  <a:pt x="354" y="132"/>
                  <a:pt x="354" y="132"/>
                  <a:pt x="354" y="132"/>
                </a:cubicBezTo>
                <a:cubicBezTo>
                  <a:pt x="382" y="132"/>
                  <a:pt x="382" y="132"/>
                  <a:pt x="382" y="132"/>
                </a:cubicBezTo>
                <a:cubicBezTo>
                  <a:pt x="382" y="97"/>
                  <a:pt x="382" y="97"/>
                  <a:pt x="382" y="97"/>
                </a:cubicBezTo>
                <a:cubicBezTo>
                  <a:pt x="382" y="74"/>
                  <a:pt x="393" y="63"/>
                  <a:pt x="411" y="63"/>
                </a:cubicBezTo>
                <a:cubicBezTo>
                  <a:pt x="412" y="63"/>
                  <a:pt x="412" y="63"/>
                  <a:pt x="412" y="63"/>
                </a:cubicBezTo>
                <a:cubicBezTo>
                  <a:pt x="412" y="34"/>
                  <a:pt x="412" y="34"/>
                  <a:pt x="412" y="34"/>
                </a:cubicBezTo>
                <a:cubicBezTo>
                  <a:pt x="396" y="33"/>
                  <a:pt x="387" y="42"/>
                  <a:pt x="382" y="55"/>
                </a:cubicBezTo>
                <a:close/>
                <a:moveTo>
                  <a:pt x="1335" y="34"/>
                </a:moveTo>
                <a:cubicBezTo>
                  <a:pt x="1305" y="34"/>
                  <a:pt x="1283" y="56"/>
                  <a:pt x="1283" y="84"/>
                </a:cubicBezTo>
                <a:cubicBezTo>
                  <a:pt x="1283" y="84"/>
                  <a:pt x="1283" y="84"/>
                  <a:pt x="1283" y="84"/>
                </a:cubicBezTo>
                <a:cubicBezTo>
                  <a:pt x="1283" y="112"/>
                  <a:pt x="1305" y="134"/>
                  <a:pt x="1335" y="134"/>
                </a:cubicBezTo>
                <a:cubicBezTo>
                  <a:pt x="1365" y="134"/>
                  <a:pt x="1387" y="112"/>
                  <a:pt x="1387" y="84"/>
                </a:cubicBezTo>
                <a:cubicBezTo>
                  <a:pt x="1387" y="84"/>
                  <a:pt x="1387" y="84"/>
                  <a:pt x="1387" y="84"/>
                </a:cubicBezTo>
                <a:cubicBezTo>
                  <a:pt x="1387" y="56"/>
                  <a:pt x="1365" y="34"/>
                  <a:pt x="1335" y="34"/>
                </a:cubicBezTo>
                <a:close/>
                <a:moveTo>
                  <a:pt x="1360" y="84"/>
                </a:moveTo>
                <a:cubicBezTo>
                  <a:pt x="1360" y="99"/>
                  <a:pt x="1351" y="111"/>
                  <a:pt x="1335" y="111"/>
                </a:cubicBezTo>
                <a:cubicBezTo>
                  <a:pt x="1320" y="111"/>
                  <a:pt x="1310" y="98"/>
                  <a:pt x="1310" y="84"/>
                </a:cubicBezTo>
                <a:cubicBezTo>
                  <a:pt x="1310" y="84"/>
                  <a:pt x="1310" y="84"/>
                  <a:pt x="1310" y="84"/>
                </a:cubicBezTo>
                <a:cubicBezTo>
                  <a:pt x="1310" y="70"/>
                  <a:pt x="1319" y="58"/>
                  <a:pt x="1335" y="58"/>
                </a:cubicBezTo>
                <a:cubicBezTo>
                  <a:pt x="1350" y="58"/>
                  <a:pt x="1360" y="70"/>
                  <a:pt x="1360" y="84"/>
                </a:cubicBezTo>
                <a:close/>
                <a:moveTo>
                  <a:pt x="1834" y="55"/>
                </a:moveTo>
                <a:cubicBezTo>
                  <a:pt x="1834" y="36"/>
                  <a:pt x="1834" y="36"/>
                  <a:pt x="1834" y="36"/>
                </a:cubicBezTo>
                <a:cubicBezTo>
                  <a:pt x="1807" y="36"/>
                  <a:pt x="1807" y="36"/>
                  <a:pt x="1807" y="36"/>
                </a:cubicBezTo>
                <a:cubicBezTo>
                  <a:pt x="1807" y="132"/>
                  <a:pt x="1807" y="132"/>
                  <a:pt x="1807" y="132"/>
                </a:cubicBezTo>
                <a:cubicBezTo>
                  <a:pt x="1834" y="132"/>
                  <a:pt x="1834" y="132"/>
                  <a:pt x="1834" y="132"/>
                </a:cubicBezTo>
                <a:cubicBezTo>
                  <a:pt x="1834" y="97"/>
                  <a:pt x="1834" y="97"/>
                  <a:pt x="1834" y="97"/>
                </a:cubicBezTo>
                <a:cubicBezTo>
                  <a:pt x="1834" y="74"/>
                  <a:pt x="1845" y="63"/>
                  <a:pt x="1863" y="63"/>
                </a:cubicBezTo>
                <a:cubicBezTo>
                  <a:pt x="1865" y="63"/>
                  <a:pt x="1865" y="63"/>
                  <a:pt x="1865" y="63"/>
                </a:cubicBezTo>
                <a:cubicBezTo>
                  <a:pt x="1865" y="34"/>
                  <a:pt x="1865" y="34"/>
                  <a:pt x="1865" y="34"/>
                </a:cubicBezTo>
                <a:cubicBezTo>
                  <a:pt x="1848" y="33"/>
                  <a:pt x="1839" y="42"/>
                  <a:pt x="1834" y="55"/>
                </a:cubicBezTo>
                <a:close/>
                <a:moveTo>
                  <a:pt x="1748" y="34"/>
                </a:moveTo>
                <a:cubicBezTo>
                  <a:pt x="1718" y="34"/>
                  <a:pt x="1696" y="56"/>
                  <a:pt x="1696" y="84"/>
                </a:cubicBezTo>
                <a:cubicBezTo>
                  <a:pt x="1696" y="84"/>
                  <a:pt x="1696" y="84"/>
                  <a:pt x="1696" y="84"/>
                </a:cubicBezTo>
                <a:cubicBezTo>
                  <a:pt x="1696" y="112"/>
                  <a:pt x="1718" y="134"/>
                  <a:pt x="1748" y="134"/>
                </a:cubicBezTo>
                <a:cubicBezTo>
                  <a:pt x="1778" y="134"/>
                  <a:pt x="1800" y="112"/>
                  <a:pt x="1800" y="84"/>
                </a:cubicBezTo>
                <a:cubicBezTo>
                  <a:pt x="1800" y="84"/>
                  <a:pt x="1800" y="84"/>
                  <a:pt x="1800" y="84"/>
                </a:cubicBezTo>
                <a:cubicBezTo>
                  <a:pt x="1800" y="56"/>
                  <a:pt x="1778" y="34"/>
                  <a:pt x="1748" y="34"/>
                </a:cubicBezTo>
                <a:close/>
                <a:moveTo>
                  <a:pt x="1773" y="84"/>
                </a:moveTo>
                <a:cubicBezTo>
                  <a:pt x="1773" y="99"/>
                  <a:pt x="1764" y="111"/>
                  <a:pt x="1748" y="111"/>
                </a:cubicBezTo>
                <a:cubicBezTo>
                  <a:pt x="1733" y="111"/>
                  <a:pt x="1723" y="98"/>
                  <a:pt x="1723" y="84"/>
                </a:cubicBezTo>
                <a:cubicBezTo>
                  <a:pt x="1723" y="84"/>
                  <a:pt x="1723" y="84"/>
                  <a:pt x="1723" y="84"/>
                </a:cubicBezTo>
                <a:cubicBezTo>
                  <a:pt x="1723" y="70"/>
                  <a:pt x="1732" y="58"/>
                  <a:pt x="1748" y="58"/>
                </a:cubicBezTo>
                <a:cubicBezTo>
                  <a:pt x="1763" y="58"/>
                  <a:pt x="1773" y="70"/>
                  <a:pt x="1773" y="84"/>
                </a:cubicBezTo>
                <a:close/>
                <a:moveTo>
                  <a:pt x="1465" y="48"/>
                </a:moveTo>
                <a:cubicBezTo>
                  <a:pt x="1458" y="40"/>
                  <a:pt x="1449" y="34"/>
                  <a:pt x="1434" y="34"/>
                </a:cubicBezTo>
                <a:cubicBezTo>
                  <a:pt x="1412" y="34"/>
                  <a:pt x="1391" y="50"/>
                  <a:pt x="1391" y="79"/>
                </a:cubicBezTo>
                <a:cubicBezTo>
                  <a:pt x="1391" y="79"/>
                  <a:pt x="1391" y="79"/>
                  <a:pt x="1391" y="79"/>
                </a:cubicBezTo>
                <a:cubicBezTo>
                  <a:pt x="1391" y="108"/>
                  <a:pt x="1412" y="124"/>
                  <a:pt x="1434" y="124"/>
                </a:cubicBezTo>
                <a:cubicBezTo>
                  <a:pt x="1448" y="124"/>
                  <a:pt x="1457" y="118"/>
                  <a:pt x="1465" y="109"/>
                </a:cubicBezTo>
                <a:cubicBezTo>
                  <a:pt x="1465" y="113"/>
                  <a:pt x="1465" y="113"/>
                  <a:pt x="1465" y="113"/>
                </a:cubicBezTo>
                <a:cubicBezTo>
                  <a:pt x="1465" y="130"/>
                  <a:pt x="1457" y="139"/>
                  <a:pt x="1438" y="139"/>
                </a:cubicBezTo>
                <a:cubicBezTo>
                  <a:pt x="1425" y="139"/>
                  <a:pt x="1415" y="136"/>
                  <a:pt x="1405" y="131"/>
                </a:cubicBezTo>
                <a:cubicBezTo>
                  <a:pt x="1396" y="151"/>
                  <a:pt x="1396" y="151"/>
                  <a:pt x="1396" y="151"/>
                </a:cubicBezTo>
                <a:cubicBezTo>
                  <a:pt x="1408" y="158"/>
                  <a:pt x="1423" y="161"/>
                  <a:pt x="1439" y="161"/>
                </a:cubicBezTo>
                <a:cubicBezTo>
                  <a:pt x="1457" y="161"/>
                  <a:pt x="1471" y="157"/>
                  <a:pt x="1480" y="148"/>
                </a:cubicBezTo>
                <a:cubicBezTo>
                  <a:pt x="1488" y="140"/>
                  <a:pt x="1492" y="128"/>
                  <a:pt x="1492" y="110"/>
                </a:cubicBezTo>
                <a:cubicBezTo>
                  <a:pt x="1492" y="36"/>
                  <a:pt x="1492" y="36"/>
                  <a:pt x="1492" y="36"/>
                </a:cubicBezTo>
                <a:cubicBezTo>
                  <a:pt x="1465" y="36"/>
                  <a:pt x="1465" y="36"/>
                  <a:pt x="1465" y="36"/>
                </a:cubicBezTo>
                <a:lnTo>
                  <a:pt x="1465" y="48"/>
                </a:lnTo>
                <a:close/>
                <a:moveTo>
                  <a:pt x="1465" y="79"/>
                </a:moveTo>
                <a:cubicBezTo>
                  <a:pt x="1465" y="92"/>
                  <a:pt x="1455" y="102"/>
                  <a:pt x="1442" y="102"/>
                </a:cubicBezTo>
                <a:cubicBezTo>
                  <a:pt x="1429" y="102"/>
                  <a:pt x="1419" y="93"/>
                  <a:pt x="1419" y="79"/>
                </a:cubicBezTo>
                <a:cubicBezTo>
                  <a:pt x="1419" y="79"/>
                  <a:pt x="1419" y="79"/>
                  <a:pt x="1419" y="79"/>
                </a:cubicBezTo>
                <a:cubicBezTo>
                  <a:pt x="1419" y="66"/>
                  <a:pt x="1429" y="57"/>
                  <a:pt x="1442" y="57"/>
                </a:cubicBezTo>
                <a:cubicBezTo>
                  <a:pt x="1455" y="57"/>
                  <a:pt x="1465" y="66"/>
                  <a:pt x="1465" y="79"/>
                </a:cubicBezTo>
                <a:close/>
                <a:moveTo>
                  <a:pt x="1697" y="37"/>
                </a:moveTo>
                <a:cubicBezTo>
                  <a:pt x="1675" y="37"/>
                  <a:pt x="1675" y="37"/>
                  <a:pt x="1675" y="37"/>
                </a:cubicBezTo>
                <a:cubicBezTo>
                  <a:pt x="1675" y="33"/>
                  <a:pt x="1675" y="33"/>
                  <a:pt x="1675" y="33"/>
                </a:cubicBezTo>
                <a:cubicBezTo>
                  <a:pt x="1675" y="26"/>
                  <a:pt x="1678" y="23"/>
                  <a:pt x="1684" y="23"/>
                </a:cubicBezTo>
                <a:cubicBezTo>
                  <a:pt x="1689" y="23"/>
                  <a:pt x="1693" y="24"/>
                  <a:pt x="1697" y="25"/>
                </a:cubicBezTo>
                <a:cubicBezTo>
                  <a:pt x="1697" y="2"/>
                  <a:pt x="1697" y="2"/>
                  <a:pt x="1697" y="2"/>
                </a:cubicBezTo>
                <a:cubicBezTo>
                  <a:pt x="1692" y="1"/>
                  <a:pt x="1686" y="0"/>
                  <a:pt x="1677" y="0"/>
                </a:cubicBezTo>
                <a:cubicBezTo>
                  <a:pt x="1668" y="0"/>
                  <a:pt x="1660" y="2"/>
                  <a:pt x="1655" y="7"/>
                </a:cubicBezTo>
                <a:cubicBezTo>
                  <a:pt x="1650" y="12"/>
                  <a:pt x="1648" y="20"/>
                  <a:pt x="1648" y="31"/>
                </a:cubicBezTo>
                <a:cubicBezTo>
                  <a:pt x="1648" y="37"/>
                  <a:pt x="1648" y="37"/>
                  <a:pt x="1648" y="37"/>
                </a:cubicBezTo>
                <a:cubicBezTo>
                  <a:pt x="1636" y="37"/>
                  <a:pt x="1636" y="37"/>
                  <a:pt x="1636" y="37"/>
                </a:cubicBezTo>
                <a:cubicBezTo>
                  <a:pt x="1636" y="59"/>
                  <a:pt x="1636" y="59"/>
                  <a:pt x="1636" y="59"/>
                </a:cubicBezTo>
                <a:cubicBezTo>
                  <a:pt x="1648" y="59"/>
                  <a:pt x="1648" y="59"/>
                  <a:pt x="1648" y="59"/>
                </a:cubicBezTo>
                <a:cubicBezTo>
                  <a:pt x="1648" y="132"/>
                  <a:pt x="1648" y="132"/>
                  <a:pt x="1648" y="132"/>
                </a:cubicBezTo>
                <a:cubicBezTo>
                  <a:pt x="1675" y="132"/>
                  <a:pt x="1675" y="132"/>
                  <a:pt x="1675" y="132"/>
                </a:cubicBezTo>
                <a:cubicBezTo>
                  <a:pt x="1675" y="59"/>
                  <a:pt x="1675" y="59"/>
                  <a:pt x="1675" y="59"/>
                </a:cubicBezTo>
                <a:cubicBezTo>
                  <a:pt x="1697" y="59"/>
                  <a:pt x="1697" y="59"/>
                  <a:pt x="1697" y="59"/>
                </a:cubicBezTo>
                <a:lnTo>
                  <a:pt x="1697" y="37"/>
                </a:lnTo>
                <a:close/>
                <a:moveTo>
                  <a:pt x="1548" y="101"/>
                </a:moveTo>
                <a:cubicBezTo>
                  <a:pt x="1526" y="36"/>
                  <a:pt x="1526" y="36"/>
                  <a:pt x="1526" y="36"/>
                </a:cubicBezTo>
                <a:cubicBezTo>
                  <a:pt x="1497" y="36"/>
                  <a:pt x="1497" y="36"/>
                  <a:pt x="1497" y="36"/>
                </a:cubicBezTo>
                <a:cubicBezTo>
                  <a:pt x="1535" y="132"/>
                  <a:pt x="1535" y="132"/>
                  <a:pt x="1535" y="132"/>
                </a:cubicBezTo>
                <a:cubicBezTo>
                  <a:pt x="1532" y="137"/>
                  <a:pt x="1530" y="139"/>
                  <a:pt x="1525" y="139"/>
                </a:cubicBezTo>
                <a:cubicBezTo>
                  <a:pt x="1521" y="139"/>
                  <a:pt x="1517" y="137"/>
                  <a:pt x="1513" y="135"/>
                </a:cubicBezTo>
                <a:cubicBezTo>
                  <a:pt x="1504" y="155"/>
                  <a:pt x="1504" y="155"/>
                  <a:pt x="1504" y="155"/>
                </a:cubicBezTo>
                <a:cubicBezTo>
                  <a:pt x="1511" y="159"/>
                  <a:pt x="1519" y="161"/>
                  <a:pt x="1528" y="161"/>
                </a:cubicBezTo>
                <a:cubicBezTo>
                  <a:pt x="1545" y="161"/>
                  <a:pt x="1553" y="154"/>
                  <a:pt x="1560" y="134"/>
                </a:cubicBezTo>
                <a:cubicBezTo>
                  <a:pt x="1597" y="36"/>
                  <a:pt x="1597" y="36"/>
                  <a:pt x="1597" y="36"/>
                </a:cubicBezTo>
                <a:cubicBezTo>
                  <a:pt x="1569" y="36"/>
                  <a:pt x="1569" y="36"/>
                  <a:pt x="1569" y="36"/>
                </a:cubicBezTo>
                <a:lnTo>
                  <a:pt x="1548" y="101"/>
                </a:lnTo>
                <a:close/>
                <a:moveTo>
                  <a:pt x="1008" y="34"/>
                </a:moveTo>
                <a:cubicBezTo>
                  <a:pt x="994" y="34"/>
                  <a:pt x="986" y="41"/>
                  <a:pt x="980" y="49"/>
                </a:cubicBezTo>
                <a:cubicBezTo>
                  <a:pt x="980" y="1"/>
                  <a:pt x="980" y="1"/>
                  <a:pt x="980" y="1"/>
                </a:cubicBezTo>
                <a:cubicBezTo>
                  <a:pt x="952" y="1"/>
                  <a:pt x="952" y="1"/>
                  <a:pt x="952" y="1"/>
                </a:cubicBezTo>
                <a:cubicBezTo>
                  <a:pt x="952" y="132"/>
                  <a:pt x="952" y="132"/>
                  <a:pt x="952" y="132"/>
                </a:cubicBezTo>
                <a:cubicBezTo>
                  <a:pt x="980" y="132"/>
                  <a:pt x="980" y="132"/>
                  <a:pt x="980" y="132"/>
                </a:cubicBezTo>
                <a:cubicBezTo>
                  <a:pt x="980" y="78"/>
                  <a:pt x="980" y="78"/>
                  <a:pt x="980" y="78"/>
                </a:cubicBezTo>
                <a:cubicBezTo>
                  <a:pt x="980" y="65"/>
                  <a:pt x="986" y="59"/>
                  <a:pt x="997" y="59"/>
                </a:cubicBezTo>
                <a:cubicBezTo>
                  <a:pt x="1007" y="59"/>
                  <a:pt x="1013" y="65"/>
                  <a:pt x="1013" y="78"/>
                </a:cubicBezTo>
                <a:cubicBezTo>
                  <a:pt x="1013" y="132"/>
                  <a:pt x="1013" y="132"/>
                  <a:pt x="1013" y="132"/>
                </a:cubicBezTo>
                <a:cubicBezTo>
                  <a:pt x="1040" y="132"/>
                  <a:pt x="1040" y="132"/>
                  <a:pt x="1040" y="132"/>
                </a:cubicBezTo>
                <a:cubicBezTo>
                  <a:pt x="1040" y="70"/>
                  <a:pt x="1040" y="70"/>
                  <a:pt x="1040" y="70"/>
                </a:cubicBezTo>
                <a:cubicBezTo>
                  <a:pt x="1040" y="48"/>
                  <a:pt x="1028" y="34"/>
                  <a:pt x="1008" y="34"/>
                </a:cubicBezTo>
                <a:close/>
                <a:moveTo>
                  <a:pt x="1250" y="132"/>
                </a:moveTo>
                <a:cubicBezTo>
                  <a:pt x="1278" y="132"/>
                  <a:pt x="1278" y="132"/>
                  <a:pt x="1278" y="132"/>
                </a:cubicBezTo>
                <a:cubicBezTo>
                  <a:pt x="1278" y="1"/>
                  <a:pt x="1278" y="1"/>
                  <a:pt x="1278" y="1"/>
                </a:cubicBezTo>
                <a:cubicBezTo>
                  <a:pt x="1250" y="1"/>
                  <a:pt x="1250" y="1"/>
                  <a:pt x="1250" y="1"/>
                </a:cubicBezTo>
                <a:lnTo>
                  <a:pt x="1250" y="132"/>
                </a:lnTo>
                <a:close/>
                <a:moveTo>
                  <a:pt x="1103" y="34"/>
                </a:moveTo>
                <a:cubicBezTo>
                  <a:pt x="1089" y="34"/>
                  <a:pt x="1081" y="41"/>
                  <a:pt x="1075" y="49"/>
                </a:cubicBezTo>
                <a:cubicBezTo>
                  <a:pt x="1075" y="36"/>
                  <a:pt x="1075" y="36"/>
                  <a:pt x="1075" y="36"/>
                </a:cubicBezTo>
                <a:cubicBezTo>
                  <a:pt x="1047" y="36"/>
                  <a:pt x="1047" y="36"/>
                  <a:pt x="1047" y="36"/>
                </a:cubicBezTo>
                <a:cubicBezTo>
                  <a:pt x="1047" y="132"/>
                  <a:pt x="1047" y="132"/>
                  <a:pt x="1047" y="132"/>
                </a:cubicBezTo>
                <a:cubicBezTo>
                  <a:pt x="1075" y="132"/>
                  <a:pt x="1075" y="132"/>
                  <a:pt x="1075" y="132"/>
                </a:cubicBezTo>
                <a:cubicBezTo>
                  <a:pt x="1075" y="78"/>
                  <a:pt x="1075" y="78"/>
                  <a:pt x="1075" y="78"/>
                </a:cubicBezTo>
                <a:cubicBezTo>
                  <a:pt x="1075" y="65"/>
                  <a:pt x="1081" y="59"/>
                  <a:pt x="1092" y="59"/>
                </a:cubicBezTo>
                <a:cubicBezTo>
                  <a:pt x="1102" y="59"/>
                  <a:pt x="1108" y="65"/>
                  <a:pt x="1108" y="78"/>
                </a:cubicBezTo>
                <a:cubicBezTo>
                  <a:pt x="1108" y="132"/>
                  <a:pt x="1108" y="132"/>
                  <a:pt x="1108" y="132"/>
                </a:cubicBezTo>
                <a:cubicBezTo>
                  <a:pt x="1135" y="132"/>
                  <a:pt x="1135" y="132"/>
                  <a:pt x="1135" y="132"/>
                </a:cubicBezTo>
                <a:cubicBezTo>
                  <a:pt x="1135" y="70"/>
                  <a:pt x="1135" y="70"/>
                  <a:pt x="1135" y="70"/>
                </a:cubicBezTo>
                <a:cubicBezTo>
                  <a:pt x="1135" y="48"/>
                  <a:pt x="1123" y="34"/>
                  <a:pt x="1103" y="34"/>
                </a:cubicBezTo>
                <a:close/>
                <a:moveTo>
                  <a:pt x="910" y="111"/>
                </a:moveTo>
                <a:cubicBezTo>
                  <a:pt x="895" y="111"/>
                  <a:pt x="885" y="99"/>
                  <a:pt x="885" y="84"/>
                </a:cubicBezTo>
                <a:cubicBezTo>
                  <a:pt x="885" y="84"/>
                  <a:pt x="885" y="84"/>
                  <a:pt x="885" y="84"/>
                </a:cubicBezTo>
                <a:cubicBezTo>
                  <a:pt x="885" y="70"/>
                  <a:pt x="895" y="58"/>
                  <a:pt x="909" y="58"/>
                </a:cubicBezTo>
                <a:cubicBezTo>
                  <a:pt x="918" y="58"/>
                  <a:pt x="925" y="62"/>
                  <a:pt x="931" y="68"/>
                </a:cubicBezTo>
                <a:cubicBezTo>
                  <a:pt x="947" y="50"/>
                  <a:pt x="947" y="50"/>
                  <a:pt x="947" y="50"/>
                </a:cubicBezTo>
                <a:cubicBezTo>
                  <a:pt x="938" y="40"/>
                  <a:pt x="927" y="34"/>
                  <a:pt x="909" y="34"/>
                </a:cubicBezTo>
                <a:cubicBezTo>
                  <a:pt x="880" y="34"/>
                  <a:pt x="859" y="57"/>
                  <a:pt x="859" y="84"/>
                </a:cubicBezTo>
                <a:cubicBezTo>
                  <a:pt x="859" y="84"/>
                  <a:pt x="859" y="84"/>
                  <a:pt x="859" y="84"/>
                </a:cubicBezTo>
                <a:cubicBezTo>
                  <a:pt x="859" y="112"/>
                  <a:pt x="880" y="134"/>
                  <a:pt x="909" y="134"/>
                </a:cubicBezTo>
                <a:cubicBezTo>
                  <a:pt x="928" y="134"/>
                  <a:pt x="939" y="127"/>
                  <a:pt x="948" y="117"/>
                </a:cubicBezTo>
                <a:cubicBezTo>
                  <a:pt x="932" y="100"/>
                  <a:pt x="932" y="100"/>
                  <a:pt x="932" y="100"/>
                </a:cubicBezTo>
                <a:cubicBezTo>
                  <a:pt x="925" y="107"/>
                  <a:pt x="919" y="111"/>
                  <a:pt x="910" y="111"/>
                </a:cubicBezTo>
                <a:close/>
                <a:moveTo>
                  <a:pt x="1945" y="35"/>
                </a:moveTo>
                <a:cubicBezTo>
                  <a:pt x="1929" y="35"/>
                  <a:pt x="1918" y="38"/>
                  <a:pt x="1908" y="42"/>
                </a:cubicBezTo>
                <a:cubicBezTo>
                  <a:pt x="1915" y="63"/>
                  <a:pt x="1915" y="63"/>
                  <a:pt x="1915" y="63"/>
                </a:cubicBezTo>
                <a:cubicBezTo>
                  <a:pt x="1923" y="60"/>
                  <a:pt x="1931" y="58"/>
                  <a:pt x="1941" y="58"/>
                </a:cubicBezTo>
                <a:cubicBezTo>
                  <a:pt x="1955" y="58"/>
                  <a:pt x="1962" y="64"/>
                  <a:pt x="1962" y="76"/>
                </a:cubicBezTo>
                <a:cubicBezTo>
                  <a:pt x="1962" y="77"/>
                  <a:pt x="1962" y="77"/>
                  <a:pt x="1962" y="77"/>
                </a:cubicBezTo>
                <a:cubicBezTo>
                  <a:pt x="1955" y="75"/>
                  <a:pt x="1948" y="73"/>
                  <a:pt x="1938" y="73"/>
                </a:cubicBezTo>
                <a:cubicBezTo>
                  <a:pt x="1915" y="73"/>
                  <a:pt x="1899" y="83"/>
                  <a:pt x="1899" y="104"/>
                </a:cubicBezTo>
                <a:cubicBezTo>
                  <a:pt x="1899" y="104"/>
                  <a:pt x="1899" y="104"/>
                  <a:pt x="1899" y="104"/>
                </a:cubicBezTo>
                <a:cubicBezTo>
                  <a:pt x="1899" y="123"/>
                  <a:pt x="1914" y="134"/>
                  <a:pt x="1932" y="134"/>
                </a:cubicBezTo>
                <a:cubicBezTo>
                  <a:pt x="1946" y="134"/>
                  <a:pt x="1955" y="129"/>
                  <a:pt x="1962" y="122"/>
                </a:cubicBezTo>
                <a:cubicBezTo>
                  <a:pt x="1962" y="132"/>
                  <a:pt x="1962" y="132"/>
                  <a:pt x="1962" y="132"/>
                </a:cubicBezTo>
                <a:cubicBezTo>
                  <a:pt x="1988" y="132"/>
                  <a:pt x="1988" y="132"/>
                  <a:pt x="1988" y="132"/>
                </a:cubicBezTo>
                <a:cubicBezTo>
                  <a:pt x="1988" y="76"/>
                  <a:pt x="1988" y="76"/>
                  <a:pt x="1988" y="76"/>
                </a:cubicBezTo>
                <a:cubicBezTo>
                  <a:pt x="1988" y="63"/>
                  <a:pt x="1985" y="53"/>
                  <a:pt x="1978" y="46"/>
                </a:cubicBezTo>
                <a:cubicBezTo>
                  <a:pt x="1971" y="39"/>
                  <a:pt x="1960" y="35"/>
                  <a:pt x="1945" y="35"/>
                </a:cubicBezTo>
                <a:close/>
                <a:moveTo>
                  <a:pt x="1962" y="98"/>
                </a:moveTo>
                <a:cubicBezTo>
                  <a:pt x="1962" y="108"/>
                  <a:pt x="1953" y="115"/>
                  <a:pt x="1941" y="115"/>
                </a:cubicBezTo>
                <a:cubicBezTo>
                  <a:pt x="1932" y="115"/>
                  <a:pt x="1926" y="111"/>
                  <a:pt x="1926" y="103"/>
                </a:cubicBezTo>
                <a:cubicBezTo>
                  <a:pt x="1926" y="103"/>
                  <a:pt x="1926" y="103"/>
                  <a:pt x="1926" y="103"/>
                </a:cubicBezTo>
                <a:cubicBezTo>
                  <a:pt x="1926" y="94"/>
                  <a:pt x="1933" y="90"/>
                  <a:pt x="1945" y="90"/>
                </a:cubicBezTo>
                <a:cubicBezTo>
                  <a:pt x="1951" y="90"/>
                  <a:pt x="1957" y="91"/>
                  <a:pt x="1962" y="93"/>
                </a:cubicBezTo>
                <a:lnTo>
                  <a:pt x="1962" y="98"/>
                </a:lnTo>
                <a:close/>
                <a:moveTo>
                  <a:pt x="1193" y="34"/>
                </a:moveTo>
                <a:cubicBezTo>
                  <a:pt x="1163" y="34"/>
                  <a:pt x="1141" y="56"/>
                  <a:pt x="1141" y="84"/>
                </a:cubicBezTo>
                <a:cubicBezTo>
                  <a:pt x="1141" y="84"/>
                  <a:pt x="1141" y="84"/>
                  <a:pt x="1141" y="84"/>
                </a:cubicBezTo>
                <a:cubicBezTo>
                  <a:pt x="1141" y="112"/>
                  <a:pt x="1163" y="134"/>
                  <a:pt x="1193" y="134"/>
                </a:cubicBezTo>
                <a:cubicBezTo>
                  <a:pt x="1223" y="134"/>
                  <a:pt x="1245" y="112"/>
                  <a:pt x="1245" y="84"/>
                </a:cubicBezTo>
                <a:cubicBezTo>
                  <a:pt x="1245" y="84"/>
                  <a:pt x="1245" y="84"/>
                  <a:pt x="1245" y="84"/>
                </a:cubicBezTo>
                <a:cubicBezTo>
                  <a:pt x="1245" y="56"/>
                  <a:pt x="1223" y="34"/>
                  <a:pt x="1193" y="34"/>
                </a:cubicBezTo>
                <a:close/>
                <a:moveTo>
                  <a:pt x="1218" y="84"/>
                </a:moveTo>
                <a:cubicBezTo>
                  <a:pt x="1218" y="99"/>
                  <a:pt x="1209" y="111"/>
                  <a:pt x="1193" y="111"/>
                </a:cubicBezTo>
                <a:cubicBezTo>
                  <a:pt x="1178" y="111"/>
                  <a:pt x="1168" y="98"/>
                  <a:pt x="1168" y="84"/>
                </a:cubicBezTo>
                <a:cubicBezTo>
                  <a:pt x="1168" y="84"/>
                  <a:pt x="1168" y="84"/>
                  <a:pt x="1168" y="84"/>
                </a:cubicBezTo>
                <a:cubicBezTo>
                  <a:pt x="1168" y="70"/>
                  <a:pt x="1177" y="58"/>
                  <a:pt x="1193" y="58"/>
                </a:cubicBezTo>
                <a:cubicBezTo>
                  <a:pt x="1208" y="58"/>
                  <a:pt x="1218" y="70"/>
                  <a:pt x="1218" y="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82" name="TextBox 81">
            <a:extLst>
              <a:ext uri="{FF2B5EF4-FFF2-40B4-BE49-F238E27FC236}">
                <a16:creationId xmlns:a16="http://schemas.microsoft.com/office/drawing/2014/main" id="{D0375F64-E651-1A0A-ABF1-9C38BA663F9F}"/>
              </a:ext>
            </a:extLst>
          </p:cNvPr>
          <p:cNvSpPr txBox="1"/>
          <p:nvPr userDrawn="1"/>
        </p:nvSpPr>
        <p:spPr>
          <a:xfrm>
            <a:off x="750529" y="6401580"/>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5 Lenovo Internal. All rights reserved.</a:t>
            </a:r>
          </a:p>
        </p:txBody>
      </p:sp>
    </p:spTree>
    <p:extLst>
      <p:ext uri="{BB962C8B-B14F-4D97-AF65-F5344CB8AC3E}">
        <p14:creationId xmlns:p14="http://schemas.microsoft.com/office/powerpoint/2010/main" val="2501923737"/>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hoto + Statement_Black">
    <p:bg>
      <p:bgPr>
        <a:solidFill>
          <a:srgbClr val="1E0113"/>
        </a:solidFill>
        <a:effectLst/>
      </p:bgPr>
    </p:bg>
    <p:spTree>
      <p:nvGrpSpPr>
        <p:cNvPr id="1" name=""/>
        <p:cNvGrpSpPr/>
        <p:nvPr/>
      </p:nvGrpSpPr>
      <p:grpSpPr>
        <a:xfrm>
          <a:off x="0" y="0"/>
          <a:ext cx="0" cy="0"/>
          <a:chOff x="0" y="0"/>
          <a:chExt cx="0" cy="0"/>
        </a:xfrm>
      </p:grpSpPr>
      <p:sp>
        <p:nvSpPr>
          <p:cNvPr id="3" name="Rectangle 2"/>
          <p:cNvSpPr/>
          <p:nvPr userDrawn="1"/>
        </p:nvSpPr>
        <p:spPr>
          <a:xfrm>
            <a:off x="1" y="0"/>
            <a:ext cx="406284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Picture Placeholder 8"/>
          <p:cNvSpPr>
            <a:spLocks noGrp="1"/>
          </p:cNvSpPr>
          <p:nvPr>
            <p:ph type="pic" sz="quarter" idx="16"/>
          </p:nvPr>
        </p:nvSpPr>
        <p:spPr>
          <a:xfrm>
            <a:off x="4571604" y="0"/>
            <a:ext cx="7620396"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2" name="Slide Number Placeholder 1">
            <a:extLst>
              <a:ext uri="{FF2B5EF4-FFF2-40B4-BE49-F238E27FC236}">
                <a16:creationId xmlns:a16="http://schemas.microsoft.com/office/drawing/2014/main" id="{EC182470-3621-1323-235D-7DBA176E68EC}"/>
              </a:ext>
            </a:extLst>
          </p:cNvPr>
          <p:cNvSpPr>
            <a:spLocks noGrp="1"/>
          </p:cNvSpPr>
          <p:nvPr>
            <p:ph type="sldNum" sz="quarter" idx="20"/>
          </p:nvPr>
        </p:nvSpPr>
        <p:spPr/>
        <p:txBody>
          <a:bodyPr/>
          <a:lstStyle>
            <a:lvl1pPr>
              <a:defRPr>
                <a:solidFill>
                  <a:schemeClr val="bg1"/>
                </a:solidFill>
              </a:defRPr>
            </a:lvl1pPr>
          </a:lstStyle>
          <a:p>
            <a:fld id="{6D22F896-40B5-4ADD-8801-0D06FADFA095}" type="slidenum">
              <a:rPr lang="en-US" smtClean="0"/>
              <a:pPr/>
              <a:t>‹#›</a:t>
            </a:fld>
            <a:endParaRPr lang="en-US"/>
          </a:p>
        </p:txBody>
      </p:sp>
      <p:sp>
        <p:nvSpPr>
          <p:cNvPr id="29" name="Text Placeholder 3">
            <a:extLst>
              <a:ext uri="{FF2B5EF4-FFF2-40B4-BE49-F238E27FC236}">
                <a16:creationId xmlns:a16="http://schemas.microsoft.com/office/drawing/2014/main" id="{C11FB6FD-7B80-D920-2B92-D358B184462D}"/>
              </a:ext>
            </a:extLst>
          </p:cNvPr>
          <p:cNvSpPr>
            <a:spLocks noGrp="1"/>
          </p:cNvSpPr>
          <p:nvPr>
            <p:ph type="body" sz="quarter" idx="18" hasCustomPrompt="1"/>
          </p:nvPr>
        </p:nvSpPr>
        <p:spPr>
          <a:xfrm>
            <a:off x="760610" y="995010"/>
            <a:ext cx="3428016" cy="1436465"/>
          </a:xfrm>
          <a:prstGeom prst="rect">
            <a:avLst/>
          </a:prstGeom>
          <a:noFill/>
        </p:spPr>
        <p:txBody>
          <a:bodyPr lIns="0" tIns="0" rIns="0" bIns="0" anchor="b" anchorCtr="0">
            <a:noAutofit/>
          </a:bodyPr>
          <a:lstStyle>
            <a:lvl1pPr marL="0" indent="0">
              <a:lnSpc>
                <a:spcPct val="85000"/>
              </a:lnSpc>
              <a:spcBef>
                <a:spcPts val="0"/>
              </a:spcBef>
              <a:buFont typeface="Arial" panose="020B0604020202020204" pitchFamily="34" charset="0"/>
              <a:buNone/>
              <a:defRPr sz="4400" b="1" strike="noStrike" spc="-150" baseline="0">
                <a:solidFill>
                  <a:schemeClr val="bg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Click to edit slide title</a:t>
            </a:r>
          </a:p>
        </p:txBody>
      </p:sp>
      <p:sp>
        <p:nvSpPr>
          <p:cNvPr id="30" name="Content Placeholder 2">
            <a:extLst>
              <a:ext uri="{FF2B5EF4-FFF2-40B4-BE49-F238E27FC236}">
                <a16:creationId xmlns:a16="http://schemas.microsoft.com/office/drawing/2014/main" id="{5F150789-C64C-B456-4B9A-24AED7315FBB}"/>
              </a:ext>
            </a:extLst>
          </p:cNvPr>
          <p:cNvSpPr>
            <a:spLocks noGrp="1"/>
          </p:cNvSpPr>
          <p:nvPr>
            <p:ph sz="half" idx="1"/>
          </p:nvPr>
        </p:nvSpPr>
        <p:spPr bwMode="gray">
          <a:xfrm>
            <a:off x="760610" y="2815936"/>
            <a:ext cx="3428016" cy="3280064"/>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3481015"/>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Idea">
    <p:bg>
      <p:bgPr>
        <a:solidFill>
          <a:schemeClr val="accent3">
            <a:lumMod val="25000"/>
          </a:schemeClr>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8CB8992-3FC1-1D5A-F5A3-5A7867B1CF80}"/>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a:p>
        </p:txBody>
      </p:sp>
      <p:sp>
        <p:nvSpPr>
          <p:cNvPr id="7" name="Text Placeholder 6">
            <a:extLst>
              <a:ext uri="{FF2B5EF4-FFF2-40B4-BE49-F238E27FC236}">
                <a16:creationId xmlns:a16="http://schemas.microsoft.com/office/drawing/2014/main" id="{EFEF7F64-EAB6-F941-857A-EB6862B07383}"/>
              </a:ext>
            </a:extLst>
          </p:cNvPr>
          <p:cNvSpPr>
            <a:spLocks noGrp="1"/>
          </p:cNvSpPr>
          <p:nvPr>
            <p:ph type="body" sz="quarter" idx="11" hasCustomPrompt="1"/>
          </p:nvPr>
        </p:nvSpPr>
        <p:spPr>
          <a:xfrm>
            <a:off x="760611" y="1757775"/>
            <a:ext cx="10670779" cy="3342453"/>
          </a:xfrm>
          <a:prstGeom prst="rect">
            <a:avLst/>
          </a:prstGeom>
        </p:spPr>
        <p:txBody>
          <a:bodyPr wrap="square" lIns="0" rIns="0" anchor="ctr" anchorCtr="0">
            <a:spAutoFit/>
          </a:bodyPr>
          <a:lstStyle>
            <a:lvl1pPr marL="0" indent="0">
              <a:lnSpc>
                <a:spcPct val="80000"/>
              </a:lnSpc>
              <a:spcBef>
                <a:spcPts val="0"/>
              </a:spcBef>
              <a:buNone/>
              <a:defRPr sz="8800" b="1">
                <a:solidFill>
                  <a:schemeClr val="bg1"/>
                </a:solidFill>
              </a:defRPr>
            </a:lvl1pPr>
            <a:lvl2pPr marL="609494" indent="0">
              <a:buNone/>
              <a:defRPr/>
            </a:lvl2pPr>
          </a:lstStyle>
          <a:p>
            <a:pPr lvl="0"/>
            <a:r>
              <a:rPr lang="en-US"/>
              <a:t>Click to edit big idea, statement or subject</a:t>
            </a:r>
          </a:p>
        </p:txBody>
      </p:sp>
    </p:spTree>
    <p:extLst>
      <p:ext uri="{BB962C8B-B14F-4D97-AF65-F5344CB8AC3E}">
        <p14:creationId xmlns:p14="http://schemas.microsoft.com/office/powerpoint/2010/main" val="3508000577"/>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 Product">
    <p:spTree>
      <p:nvGrpSpPr>
        <p:cNvPr id="1" name=""/>
        <p:cNvGrpSpPr/>
        <p:nvPr/>
      </p:nvGrpSpPr>
      <p:grpSpPr>
        <a:xfrm>
          <a:off x="0" y="0"/>
          <a:ext cx="0" cy="0"/>
          <a:chOff x="0" y="0"/>
          <a:chExt cx="0" cy="0"/>
        </a:xfrm>
      </p:grpSpPr>
      <p:sp>
        <p:nvSpPr>
          <p:cNvPr id="7" name="Picture Placeholder 8"/>
          <p:cNvSpPr>
            <a:spLocks noGrp="1"/>
          </p:cNvSpPr>
          <p:nvPr>
            <p:ph type="pic" sz="quarter" idx="17"/>
          </p:nvPr>
        </p:nvSpPr>
        <p:spPr>
          <a:xfrm>
            <a:off x="0" y="0"/>
            <a:ext cx="6095999"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9" name="Content Placeholder 2"/>
          <p:cNvSpPr>
            <a:spLocks noGrp="1"/>
          </p:cNvSpPr>
          <p:nvPr>
            <p:ph sz="half" idx="18"/>
          </p:nvPr>
        </p:nvSpPr>
        <p:spPr bwMode="gray">
          <a:xfrm>
            <a:off x="6858198" y="1307593"/>
            <a:ext cx="4573192"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28"/>
          <p:cNvSpPr>
            <a:spLocks noGrp="1"/>
          </p:cNvSpPr>
          <p:nvPr>
            <p:ph type="title" hasCustomPrompt="1"/>
          </p:nvPr>
        </p:nvSpPr>
        <p:spPr bwMode="gray">
          <a:xfrm>
            <a:off x="6858198" y="442528"/>
            <a:ext cx="4573192"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title</a:t>
            </a:r>
          </a:p>
        </p:txBody>
      </p:sp>
      <p:sp>
        <p:nvSpPr>
          <p:cNvPr id="2" name="Slide Number Placeholder 1">
            <a:extLst>
              <a:ext uri="{FF2B5EF4-FFF2-40B4-BE49-F238E27FC236}">
                <a16:creationId xmlns:a16="http://schemas.microsoft.com/office/drawing/2014/main" id="{0AFBC96C-E04F-90E6-1BBE-C65ECD6E5C14}"/>
              </a:ext>
            </a:extLst>
          </p:cNvPr>
          <p:cNvSpPr>
            <a:spLocks noGrp="1"/>
          </p:cNvSpPr>
          <p:nvPr>
            <p:ph type="sldNum" sz="quarter" idx="19"/>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611839579"/>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w/ Product_Black">
    <p:bg>
      <p:bgPr>
        <a:solidFill>
          <a:srgbClr val="1E0013"/>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7"/>
          </p:nvPr>
        </p:nvSpPr>
        <p:spPr>
          <a:xfrm>
            <a:off x="0" y="0"/>
            <a:ext cx="6095999"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9" name="Content Placeholder 2"/>
          <p:cNvSpPr>
            <a:spLocks noGrp="1"/>
          </p:cNvSpPr>
          <p:nvPr>
            <p:ph sz="half" idx="18"/>
          </p:nvPr>
        </p:nvSpPr>
        <p:spPr bwMode="gray">
          <a:xfrm>
            <a:off x="6858200" y="1307592"/>
            <a:ext cx="4573191" cy="4788408"/>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28"/>
          <p:cNvSpPr>
            <a:spLocks noGrp="1"/>
          </p:cNvSpPr>
          <p:nvPr>
            <p:ph type="title" hasCustomPrompt="1"/>
          </p:nvPr>
        </p:nvSpPr>
        <p:spPr bwMode="gray">
          <a:xfrm>
            <a:off x="6858199" y="442528"/>
            <a:ext cx="4573192" cy="418576"/>
          </a:xfrm>
          <a:prstGeom prst="rect">
            <a:avLst/>
          </a:prstGeom>
        </p:spPr>
        <p:txBody>
          <a:bodyPr wrap="square" lIns="0" tIns="0" rIns="0" bIns="0" anchor="t" anchorCtr="0">
            <a:sp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title</a:t>
            </a:r>
          </a:p>
        </p:txBody>
      </p:sp>
      <p:sp>
        <p:nvSpPr>
          <p:cNvPr id="2" name="Slide Number Placeholder 1">
            <a:extLst>
              <a:ext uri="{FF2B5EF4-FFF2-40B4-BE49-F238E27FC236}">
                <a16:creationId xmlns:a16="http://schemas.microsoft.com/office/drawing/2014/main" id="{E5A84DA8-2577-7EF4-6122-06E4DEEB80AF}"/>
              </a:ext>
            </a:extLst>
          </p:cNvPr>
          <p:cNvSpPr>
            <a:spLocks noGrp="1"/>
          </p:cNvSpPr>
          <p:nvPr>
            <p:ph type="sldNum" sz="quarter" idx="19"/>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74585750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sp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9" name="Chart Placeholder 2"/>
          <p:cNvSpPr>
            <a:spLocks noGrp="1"/>
          </p:cNvSpPr>
          <p:nvPr>
            <p:ph type="chart" sz="quarter" idx="10" hasCustomPrompt="1"/>
          </p:nvPr>
        </p:nvSpPr>
        <p:spPr bwMode="gray">
          <a:xfrm>
            <a:off x="760612" y="1524000"/>
            <a:ext cx="10670779" cy="4572000"/>
          </a:xfrm>
          <a:prstGeom prst="rect">
            <a:avLst/>
          </a:prstGeom>
        </p:spPr>
        <p:txBody>
          <a:bodyPr lIns="121899" tIns="853291" rIns="121899" bIns="60949" anchor="ctr" anchorCtr="0"/>
          <a:lstStyle>
            <a:lvl1pPr marL="0" indent="0" algn="ctr">
              <a:buFontTx/>
              <a:buNone/>
              <a:defRPr sz="2400" baseline="0">
                <a:solidFill>
                  <a:schemeClr val="bg2"/>
                </a:solidFill>
              </a:defRPr>
            </a:lvl1pPr>
          </a:lstStyle>
          <a:p>
            <a:r>
              <a:rPr lang="en-US"/>
              <a:t>Click icon to create chart</a:t>
            </a:r>
          </a:p>
        </p:txBody>
      </p:sp>
      <p:sp>
        <p:nvSpPr>
          <p:cNvPr id="2" name="Slide Number Placeholder 1">
            <a:extLst>
              <a:ext uri="{FF2B5EF4-FFF2-40B4-BE49-F238E27FC236}">
                <a16:creationId xmlns:a16="http://schemas.microsoft.com/office/drawing/2014/main" id="{BBE9C038-E754-006F-B382-D714EB949571}"/>
              </a:ext>
            </a:extLst>
          </p:cNvPr>
          <p:cNvSpPr>
            <a:spLocks noGrp="1"/>
          </p:cNvSpPr>
          <p:nvPr>
            <p:ph type="sldNum" sz="quarter" idx="11"/>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2981093512"/>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rt Slide_Black">
    <p:bg>
      <p:bgPr>
        <a:solidFill>
          <a:srgbClr val="1E0013"/>
        </a:solidFill>
        <a:effectLst/>
      </p:bgPr>
    </p:bg>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9" name="Chart Placeholder 2"/>
          <p:cNvSpPr>
            <a:spLocks noGrp="1"/>
          </p:cNvSpPr>
          <p:nvPr>
            <p:ph type="chart" sz="quarter" idx="10" hasCustomPrompt="1"/>
          </p:nvPr>
        </p:nvSpPr>
        <p:spPr bwMode="gray">
          <a:xfrm>
            <a:off x="760612" y="1524000"/>
            <a:ext cx="10670779" cy="4572001"/>
          </a:xfrm>
          <a:prstGeom prst="rect">
            <a:avLst/>
          </a:prstGeom>
        </p:spPr>
        <p:txBody>
          <a:bodyPr lIns="121899" tIns="853291" rIns="121899" bIns="60949" anchor="ctr" anchorCtr="0"/>
          <a:lstStyle>
            <a:lvl1pPr marL="0" indent="0" algn="ctr">
              <a:buFontTx/>
              <a:buNone/>
              <a:defRPr sz="2400" baseline="0">
                <a:solidFill>
                  <a:schemeClr val="bg1"/>
                </a:solidFill>
              </a:defRPr>
            </a:lvl1pPr>
          </a:lstStyle>
          <a:p>
            <a:r>
              <a:rPr lang="en-US"/>
              <a:t>Click icon to create chart</a:t>
            </a:r>
          </a:p>
        </p:txBody>
      </p:sp>
      <p:sp>
        <p:nvSpPr>
          <p:cNvPr id="2" name="Slide Number Placeholder 1">
            <a:extLst>
              <a:ext uri="{FF2B5EF4-FFF2-40B4-BE49-F238E27FC236}">
                <a16:creationId xmlns:a16="http://schemas.microsoft.com/office/drawing/2014/main" id="{A1222CEF-FCD3-E840-7AE1-E900A5D59CF2}"/>
              </a:ext>
            </a:extLst>
          </p:cNvPr>
          <p:cNvSpPr>
            <a:spLocks noGrp="1"/>
          </p:cNvSpPr>
          <p:nvPr>
            <p:ph type="sldNum" sz="quarter" idx="11"/>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60228359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2E9409-35B8-57EB-2941-154C5CA02C34}"/>
              </a:ext>
            </a:extLst>
          </p:cNvPr>
          <p:cNvSpPr>
            <a:spLocks noGrp="1"/>
          </p:cNvSpPr>
          <p:nvPr>
            <p:ph type="sldNum" sz="quarter" idx="10"/>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855796914"/>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Slide_Black">
    <p:bg>
      <p:bgPr>
        <a:solidFill>
          <a:srgbClr val="1E0013"/>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94B782-D6B1-E164-080E-40821B7DAFAF}"/>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741951182"/>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bg1"/>
        </a:solidFill>
        <a:effectLst/>
      </p:bgPr>
    </p:bg>
    <p:spTree>
      <p:nvGrpSpPr>
        <p:cNvPr id="1" name=""/>
        <p:cNvGrpSpPr/>
        <p:nvPr/>
      </p:nvGrpSpPr>
      <p:grpSpPr>
        <a:xfrm>
          <a:off x="0" y="0"/>
          <a:ext cx="0" cy="0"/>
          <a:chOff x="0" y="0"/>
          <a:chExt cx="0" cy="0"/>
        </a:xfrm>
      </p:grpSpPr>
      <p:grpSp>
        <p:nvGrpSpPr>
          <p:cNvPr id="166" name="Group 165">
            <a:extLst>
              <a:ext uri="{FF2B5EF4-FFF2-40B4-BE49-F238E27FC236}">
                <a16:creationId xmlns:a16="http://schemas.microsoft.com/office/drawing/2014/main" id="{45DF6D6F-9C39-7C31-64D4-4BCE9C9CA5D6}"/>
              </a:ext>
            </a:extLst>
          </p:cNvPr>
          <p:cNvGrpSpPr/>
          <p:nvPr userDrawn="1"/>
        </p:nvGrpSpPr>
        <p:grpSpPr>
          <a:xfrm>
            <a:off x="1539348" y="3561908"/>
            <a:ext cx="7853422" cy="1769127"/>
            <a:chOff x="541049" y="2649538"/>
            <a:chExt cx="9285724" cy="2092325"/>
          </a:xfrm>
          <a:solidFill>
            <a:srgbClr val="4D144A"/>
          </a:solidFill>
        </p:grpSpPr>
        <p:sp>
          <p:nvSpPr>
            <p:cNvPr id="167" name="Freeform 5">
              <a:extLst>
                <a:ext uri="{FF2B5EF4-FFF2-40B4-BE49-F238E27FC236}">
                  <a16:creationId xmlns:a16="http://schemas.microsoft.com/office/drawing/2014/main" id="{E109AFA1-C190-E6CF-D819-5DDBF44B5ED2}"/>
                </a:ext>
              </a:extLst>
            </p:cNvPr>
            <p:cNvSpPr>
              <a:spLocks/>
            </p:cNvSpPr>
            <p:nvPr userDrawn="1"/>
          </p:nvSpPr>
          <p:spPr bwMode="auto">
            <a:xfrm>
              <a:off x="541049" y="2809876"/>
              <a:ext cx="963613" cy="1928813"/>
            </a:xfrm>
            <a:custGeom>
              <a:avLst/>
              <a:gdLst>
                <a:gd name="T0" fmla="*/ 57 w 301"/>
                <a:gd name="T1" fmla="*/ 458 h 600"/>
                <a:gd name="T2" fmla="*/ 57 w 301"/>
                <a:gd name="T3" fmla="*/ 235 h 600"/>
                <a:gd name="T4" fmla="*/ 0 w 301"/>
                <a:gd name="T5" fmla="*/ 235 h 600"/>
                <a:gd name="T6" fmla="*/ 0 w 301"/>
                <a:gd name="T7" fmla="*/ 121 h 600"/>
                <a:gd name="T8" fmla="*/ 57 w 301"/>
                <a:gd name="T9" fmla="*/ 121 h 600"/>
                <a:gd name="T10" fmla="*/ 57 w 301"/>
                <a:gd name="T11" fmla="*/ 0 h 600"/>
                <a:gd name="T12" fmla="*/ 190 w 301"/>
                <a:gd name="T13" fmla="*/ 0 h 600"/>
                <a:gd name="T14" fmla="*/ 190 w 301"/>
                <a:gd name="T15" fmla="*/ 121 h 600"/>
                <a:gd name="T16" fmla="*/ 301 w 301"/>
                <a:gd name="T17" fmla="*/ 121 h 600"/>
                <a:gd name="T18" fmla="*/ 301 w 301"/>
                <a:gd name="T19" fmla="*/ 235 h 600"/>
                <a:gd name="T20" fmla="*/ 190 w 301"/>
                <a:gd name="T21" fmla="*/ 235 h 600"/>
                <a:gd name="T22" fmla="*/ 190 w 301"/>
                <a:gd name="T23" fmla="*/ 436 h 600"/>
                <a:gd name="T24" fmla="*/ 233 w 301"/>
                <a:gd name="T25" fmla="*/ 482 h 600"/>
                <a:gd name="T26" fmla="*/ 299 w 301"/>
                <a:gd name="T27" fmla="*/ 465 h 600"/>
                <a:gd name="T28" fmla="*/ 299 w 301"/>
                <a:gd name="T29" fmla="*/ 573 h 600"/>
                <a:gd name="T30" fmla="*/ 194 w 301"/>
                <a:gd name="T31" fmla="*/ 600 h 600"/>
                <a:gd name="T32" fmla="*/ 57 w 301"/>
                <a:gd name="T33" fmla="*/ 45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600">
                  <a:moveTo>
                    <a:pt x="57" y="458"/>
                  </a:moveTo>
                  <a:cubicBezTo>
                    <a:pt x="57" y="235"/>
                    <a:pt x="57" y="235"/>
                    <a:pt x="57" y="235"/>
                  </a:cubicBezTo>
                  <a:cubicBezTo>
                    <a:pt x="0" y="235"/>
                    <a:pt x="0" y="235"/>
                    <a:pt x="0" y="235"/>
                  </a:cubicBezTo>
                  <a:cubicBezTo>
                    <a:pt x="0" y="121"/>
                    <a:pt x="0" y="121"/>
                    <a:pt x="0" y="121"/>
                  </a:cubicBezTo>
                  <a:cubicBezTo>
                    <a:pt x="57" y="121"/>
                    <a:pt x="57" y="121"/>
                    <a:pt x="57" y="121"/>
                  </a:cubicBezTo>
                  <a:cubicBezTo>
                    <a:pt x="57" y="0"/>
                    <a:pt x="57" y="0"/>
                    <a:pt x="57" y="0"/>
                  </a:cubicBezTo>
                  <a:cubicBezTo>
                    <a:pt x="190" y="0"/>
                    <a:pt x="190" y="0"/>
                    <a:pt x="190" y="0"/>
                  </a:cubicBezTo>
                  <a:cubicBezTo>
                    <a:pt x="190" y="121"/>
                    <a:pt x="190" y="121"/>
                    <a:pt x="190" y="121"/>
                  </a:cubicBezTo>
                  <a:cubicBezTo>
                    <a:pt x="301" y="121"/>
                    <a:pt x="301" y="121"/>
                    <a:pt x="301" y="121"/>
                  </a:cubicBezTo>
                  <a:cubicBezTo>
                    <a:pt x="301" y="235"/>
                    <a:pt x="301" y="235"/>
                    <a:pt x="301" y="235"/>
                  </a:cubicBezTo>
                  <a:cubicBezTo>
                    <a:pt x="190" y="235"/>
                    <a:pt x="190" y="235"/>
                    <a:pt x="190" y="235"/>
                  </a:cubicBezTo>
                  <a:cubicBezTo>
                    <a:pt x="190" y="436"/>
                    <a:pt x="190" y="436"/>
                    <a:pt x="190" y="436"/>
                  </a:cubicBezTo>
                  <a:cubicBezTo>
                    <a:pt x="190" y="467"/>
                    <a:pt x="203" y="482"/>
                    <a:pt x="233" y="482"/>
                  </a:cubicBezTo>
                  <a:cubicBezTo>
                    <a:pt x="258" y="482"/>
                    <a:pt x="280" y="476"/>
                    <a:pt x="299" y="465"/>
                  </a:cubicBezTo>
                  <a:cubicBezTo>
                    <a:pt x="299" y="573"/>
                    <a:pt x="299" y="573"/>
                    <a:pt x="299" y="573"/>
                  </a:cubicBezTo>
                  <a:cubicBezTo>
                    <a:pt x="271" y="590"/>
                    <a:pt x="239" y="600"/>
                    <a:pt x="194" y="600"/>
                  </a:cubicBezTo>
                  <a:cubicBezTo>
                    <a:pt x="112" y="600"/>
                    <a:pt x="57" y="568"/>
                    <a:pt x="57"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8" name="Freeform 6">
              <a:extLst>
                <a:ext uri="{FF2B5EF4-FFF2-40B4-BE49-F238E27FC236}">
                  <a16:creationId xmlns:a16="http://schemas.microsoft.com/office/drawing/2014/main" id="{1969BD4D-0C40-739F-FF6B-4214C2BEBC90}"/>
                </a:ext>
              </a:extLst>
            </p:cNvPr>
            <p:cNvSpPr>
              <a:spLocks/>
            </p:cNvSpPr>
            <p:nvPr userDrawn="1"/>
          </p:nvSpPr>
          <p:spPr bwMode="auto">
            <a:xfrm>
              <a:off x="1708151" y="2649538"/>
              <a:ext cx="1382713" cy="2063750"/>
            </a:xfrm>
            <a:custGeom>
              <a:avLst/>
              <a:gdLst>
                <a:gd name="T0" fmla="*/ 0 w 432"/>
                <a:gd name="T1" fmla="*/ 0 h 642"/>
                <a:gd name="T2" fmla="*/ 134 w 432"/>
                <a:gd name="T3" fmla="*/ 0 h 642"/>
                <a:gd name="T4" fmla="*/ 134 w 432"/>
                <a:gd name="T5" fmla="*/ 237 h 642"/>
                <a:gd name="T6" fmla="*/ 272 w 432"/>
                <a:gd name="T7" fmla="*/ 162 h 642"/>
                <a:gd name="T8" fmla="*/ 432 w 432"/>
                <a:gd name="T9" fmla="*/ 337 h 642"/>
                <a:gd name="T10" fmla="*/ 432 w 432"/>
                <a:gd name="T11" fmla="*/ 642 h 642"/>
                <a:gd name="T12" fmla="*/ 298 w 432"/>
                <a:gd name="T13" fmla="*/ 642 h 642"/>
                <a:gd name="T14" fmla="*/ 298 w 432"/>
                <a:gd name="T15" fmla="*/ 379 h 642"/>
                <a:gd name="T16" fmla="*/ 218 w 432"/>
                <a:gd name="T17" fmla="*/ 283 h 642"/>
                <a:gd name="T18" fmla="*/ 134 w 432"/>
                <a:gd name="T19" fmla="*/ 379 h 642"/>
                <a:gd name="T20" fmla="*/ 134 w 432"/>
                <a:gd name="T21" fmla="*/ 642 h 642"/>
                <a:gd name="T22" fmla="*/ 0 w 432"/>
                <a:gd name="T23" fmla="*/ 642 h 642"/>
                <a:gd name="T24" fmla="*/ 0 w 432"/>
                <a:gd name="T25"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642">
                  <a:moveTo>
                    <a:pt x="0" y="0"/>
                  </a:moveTo>
                  <a:cubicBezTo>
                    <a:pt x="134" y="0"/>
                    <a:pt x="134" y="0"/>
                    <a:pt x="134" y="0"/>
                  </a:cubicBezTo>
                  <a:cubicBezTo>
                    <a:pt x="134" y="237"/>
                    <a:pt x="134" y="237"/>
                    <a:pt x="134" y="237"/>
                  </a:cubicBezTo>
                  <a:cubicBezTo>
                    <a:pt x="165" y="198"/>
                    <a:pt x="204" y="162"/>
                    <a:pt x="272" y="162"/>
                  </a:cubicBezTo>
                  <a:cubicBezTo>
                    <a:pt x="373" y="162"/>
                    <a:pt x="432" y="229"/>
                    <a:pt x="432" y="337"/>
                  </a:cubicBezTo>
                  <a:cubicBezTo>
                    <a:pt x="432" y="642"/>
                    <a:pt x="432" y="642"/>
                    <a:pt x="432" y="642"/>
                  </a:cubicBezTo>
                  <a:cubicBezTo>
                    <a:pt x="298" y="642"/>
                    <a:pt x="298" y="642"/>
                    <a:pt x="298" y="642"/>
                  </a:cubicBezTo>
                  <a:cubicBezTo>
                    <a:pt x="298" y="379"/>
                    <a:pt x="298" y="379"/>
                    <a:pt x="298" y="379"/>
                  </a:cubicBezTo>
                  <a:cubicBezTo>
                    <a:pt x="298" y="316"/>
                    <a:pt x="269" y="283"/>
                    <a:pt x="218" y="283"/>
                  </a:cubicBezTo>
                  <a:cubicBezTo>
                    <a:pt x="166" y="283"/>
                    <a:pt x="134" y="316"/>
                    <a:pt x="134" y="379"/>
                  </a:cubicBezTo>
                  <a:cubicBezTo>
                    <a:pt x="134" y="642"/>
                    <a:pt x="134" y="642"/>
                    <a:pt x="134" y="642"/>
                  </a:cubicBezTo>
                  <a:cubicBezTo>
                    <a:pt x="0" y="642"/>
                    <a:pt x="0" y="642"/>
                    <a:pt x="0" y="64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9" name="Freeform 7">
              <a:extLst>
                <a:ext uri="{FF2B5EF4-FFF2-40B4-BE49-F238E27FC236}">
                  <a16:creationId xmlns:a16="http://schemas.microsoft.com/office/drawing/2014/main" id="{6DB7C37A-1FE6-9BFA-5E83-3EC0F79497F5}"/>
                </a:ext>
              </a:extLst>
            </p:cNvPr>
            <p:cNvSpPr>
              <a:spLocks noEditPoints="1"/>
            </p:cNvSpPr>
            <p:nvPr userDrawn="1"/>
          </p:nvSpPr>
          <p:spPr bwMode="auto">
            <a:xfrm>
              <a:off x="3261304" y="3179763"/>
              <a:ext cx="1390650" cy="1562100"/>
            </a:xfrm>
            <a:custGeom>
              <a:avLst/>
              <a:gdLst>
                <a:gd name="T0" fmla="*/ 0 w 434"/>
                <a:gd name="T1" fmla="*/ 342 h 486"/>
                <a:gd name="T2" fmla="*/ 0 w 434"/>
                <a:gd name="T3" fmla="*/ 340 h 486"/>
                <a:gd name="T4" fmla="*/ 190 w 434"/>
                <a:gd name="T5" fmla="*/ 189 h 486"/>
                <a:gd name="T6" fmla="*/ 305 w 434"/>
                <a:gd name="T7" fmla="*/ 209 h 486"/>
                <a:gd name="T8" fmla="*/ 305 w 434"/>
                <a:gd name="T9" fmla="*/ 201 h 486"/>
                <a:gd name="T10" fmla="*/ 204 w 434"/>
                <a:gd name="T11" fmla="*/ 115 h 486"/>
                <a:gd name="T12" fmla="*/ 74 w 434"/>
                <a:gd name="T13" fmla="*/ 140 h 486"/>
                <a:gd name="T14" fmla="*/ 40 w 434"/>
                <a:gd name="T15" fmla="*/ 38 h 486"/>
                <a:gd name="T16" fmla="*/ 223 w 434"/>
                <a:gd name="T17" fmla="*/ 0 h 486"/>
                <a:gd name="T18" fmla="*/ 383 w 434"/>
                <a:gd name="T19" fmla="*/ 53 h 486"/>
                <a:gd name="T20" fmla="*/ 434 w 434"/>
                <a:gd name="T21" fmla="*/ 204 h 486"/>
                <a:gd name="T22" fmla="*/ 434 w 434"/>
                <a:gd name="T23" fmla="*/ 477 h 486"/>
                <a:gd name="T24" fmla="*/ 304 w 434"/>
                <a:gd name="T25" fmla="*/ 477 h 486"/>
                <a:gd name="T26" fmla="*/ 304 w 434"/>
                <a:gd name="T27" fmla="*/ 426 h 486"/>
                <a:gd name="T28" fmla="*/ 162 w 434"/>
                <a:gd name="T29" fmla="*/ 486 h 486"/>
                <a:gd name="T30" fmla="*/ 0 w 434"/>
                <a:gd name="T31" fmla="*/ 342 h 486"/>
                <a:gd name="T32" fmla="*/ 307 w 434"/>
                <a:gd name="T33" fmla="*/ 311 h 486"/>
                <a:gd name="T34" fmla="*/ 307 w 434"/>
                <a:gd name="T35" fmla="*/ 287 h 486"/>
                <a:gd name="T36" fmla="*/ 222 w 434"/>
                <a:gd name="T37" fmla="*/ 270 h 486"/>
                <a:gd name="T38" fmla="*/ 129 w 434"/>
                <a:gd name="T39" fmla="*/ 335 h 486"/>
                <a:gd name="T40" fmla="*/ 129 w 434"/>
                <a:gd name="T41" fmla="*/ 336 h 486"/>
                <a:gd name="T42" fmla="*/ 202 w 434"/>
                <a:gd name="T43" fmla="*/ 394 h 486"/>
                <a:gd name="T44" fmla="*/ 307 w 434"/>
                <a:gd name="T45" fmla="*/ 31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4" h="486">
                  <a:moveTo>
                    <a:pt x="0" y="342"/>
                  </a:moveTo>
                  <a:cubicBezTo>
                    <a:pt x="0" y="340"/>
                    <a:pt x="0" y="340"/>
                    <a:pt x="0" y="340"/>
                  </a:cubicBezTo>
                  <a:cubicBezTo>
                    <a:pt x="0" y="237"/>
                    <a:pt x="78" y="189"/>
                    <a:pt x="190" y="189"/>
                  </a:cubicBezTo>
                  <a:cubicBezTo>
                    <a:pt x="237" y="189"/>
                    <a:pt x="272" y="197"/>
                    <a:pt x="305" y="209"/>
                  </a:cubicBezTo>
                  <a:cubicBezTo>
                    <a:pt x="305" y="201"/>
                    <a:pt x="305" y="201"/>
                    <a:pt x="305" y="201"/>
                  </a:cubicBezTo>
                  <a:cubicBezTo>
                    <a:pt x="305" y="145"/>
                    <a:pt x="271" y="115"/>
                    <a:pt x="204" y="115"/>
                  </a:cubicBezTo>
                  <a:cubicBezTo>
                    <a:pt x="153" y="115"/>
                    <a:pt x="117" y="124"/>
                    <a:pt x="74" y="140"/>
                  </a:cubicBezTo>
                  <a:cubicBezTo>
                    <a:pt x="40" y="38"/>
                    <a:pt x="40" y="38"/>
                    <a:pt x="40" y="38"/>
                  </a:cubicBezTo>
                  <a:cubicBezTo>
                    <a:pt x="92" y="15"/>
                    <a:pt x="143" y="0"/>
                    <a:pt x="223" y="0"/>
                  </a:cubicBezTo>
                  <a:cubicBezTo>
                    <a:pt x="296" y="0"/>
                    <a:pt x="349" y="20"/>
                    <a:pt x="383" y="53"/>
                  </a:cubicBezTo>
                  <a:cubicBezTo>
                    <a:pt x="418" y="88"/>
                    <a:pt x="434" y="140"/>
                    <a:pt x="434" y="204"/>
                  </a:cubicBezTo>
                  <a:cubicBezTo>
                    <a:pt x="434" y="477"/>
                    <a:pt x="434" y="477"/>
                    <a:pt x="434" y="477"/>
                  </a:cubicBezTo>
                  <a:cubicBezTo>
                    <a:pt x="304" y="477"/>
                    <a:pt x="304" y="477"/>
                    <a:pt x="304" y="477"/>
                  </a:cubicBezTo>
                  <a:cubicBezTo>
                    <a:pt x="304" y="426"/>
                    <a:pt x="304" y="426"/>
                    <a:pt x="304" y="426"/>
                  </a:cubicBezTo>
                  <a:cubicBezTo>
                    <a:pt x="272" y="462"/>
                    <a:pt x="227" y="486"/>
                    <a:pt x="162" y="486"/>
                  </a:cubicBezTo>
                  <a:cubicBezTo>
                    <a:pt x="73" y="486"/>
                    <a:pt x="0" y="435"/>
                    <a:pt x="0" y="342"/>
                  </a:cubicBezTo>
                  <a:close/>
                  <a:moveTo>
                    <a:pt x="307" y="311"/>
                  </a:moveTo>
                  <a:cubicBezTo>
                    <a:pt x="307" y="287"/>
                    <a:pt x="307" y="287"/>
                    <a:pt x="307" y="287"/>
                  </a:cubicBezTo>
                  <a:cubicBezTo>
                    <a:pt x="284" y="277"/>
                    <a:pt x="254" y="270"/>
                    <a:pt x="222" y="270"/>
                  </a:cubicBezTo>
                  <a:cubicBezTo>
                    <a:pt x="164" y="270"/>
                    <a:pt x="129" y="292"/>
                    <a:pt x="129" y="335"/>
                  </a:cubicBezTo>
                  <a:cubicBezTo>
                    <a:pt x="129" y="336"/>
                    <a:pt x="129" y="336"/>
                    <a:pt x="129" y="336"/>
                  </a:cubicBezTo>
                  <a:cubicBezTo>
                    <a:pt x="129" y="372"/>
                    <a:pt x="159" y="394"/>
                    <a:pt x="202" y="394"/>
                  </a:cubicBezTo>
                  <a:cubicBezTo>
                    <a:pt x="265" y="394"/>
                    <a:pt x="307" y="359"/>
                    <a:pt x="307"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0" name="Freeform 8">
              <a:extLst>
                <a:ext uri="{FF2B5EF4-FFF2-40B4-BE49-F238E27FC236}">
                  <a16:creationId xmlns:a16="http://schemas.microsoft.com/office/drawing/2014/main" id="{3AEA624F-19C6-31CA-5CD9-7E42ED68DA56}"/>
                </a:ext>
              </a:extLst>
            </p:cNvPr>
            <p:cNvSpPr>
              <a:spLocks/>
            </p:cNvSpPr>
            <p:nvPr userDrawn="1"/>
          </p:nvSpPr>
          <p:spPr bwMode="auto">
            <a:xfrm>
              <a:off x="4859916" y="3170238"/>
              <a:ext cx="1384300" cy="1543050"/>
            </a:xfrm>
            <a:custGeom>
              <a:avLst/>
              <a:gdLst>
                <a:gd name="T0" fmla="*/ 0 w 432"/>
                <a:gd name="T1" fmla="*/ 9 h 480"/>
                <a:gd name="T2" fmla="*/ 133 w 432"/>
                <a:gd name="T3" fmla="*/ 9 h 480"/>
                <a:gd name="T4" fmla="*/ 133 w 432"/>
                <a:gd name="T5" fmla="*/ 75 h 480"/>
                <a:gd name="T6" fmla="*/ 272 w 432"/>
                <a:gd name="T7" fmla="*/ 0 h 480"/>
                <a:gd name="T8" fmla="*/ 432 w 432"/>
                <a:gd name="T9" fmla="*/ 175 h 480"/>
                <a:gd name="T10" fmla="*/ 432 w 432"/>
                <a:gd name="T11" fmla="*/ 480 h 480"/>
                <a:gd name="T12" fmla="*/ 298 w 432"/>
                <a:gd name="T13" fmla="*/ 480 h 480"/>
                <a:gd name="T14" fmla="*/ 298 w 432"/>
                <a:gd name="T15" fmla="*/ 217 h 480"/>
                <a:gd name="T16" fmla="*/ 217 w 432"/>
                <a:gd name="T17" fmla="*/ 121 h 480"/>
                <a:gd name="T18" fmla="*/ 133 w 432"/>
                <a:gd name="T19" fmla="*/ 217 h 480"/>
                <a:gd name="T20" fmla="*/ 133 w 432"/>
                <a:gd name="T21" fmla="*/ 480 h 480"/>
                <a:gd name="T22" fmla="*/ 0 w 432"/>
                <a:gd name="T23" fmla="*/ 480 h 480"/>
                <a:gd name="T24" fmla="*/ 0 w 432"/>
                <a:gd name="T25" fmla="*/ 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480">
                  <a:moveTo>
                    <a:pt x="0" y="9"/>
                  </a:moveTo>
                  <a:cubicBezTo>
                    <a:pt x="133" y="9"/>
                    <a:pt x="133" y="9"/>
                    <a:pt x="133" y="9"/>
                  </a:cubicBezTo>
                  <a:cubicBezTo>
                    <a:pt x="133" y="75"/>
                    <a:pt x="133" y="75"/>
                    <a:pt x="133" y="75"/>
                  </a:cubicBezTo>
                  <a:cubicBezTo>
                    <a:pt x="164" y="36"/>
                    <a:pt x="204" y="0"/>
                    <a:pt x="272" y="0"/>
                  </a:cubicBezTo>
                  <a:cubicBezTo>
                    <a:pt x="373" y="0"/>
                    <a:pt x="432" y="67"/>
                    <a:pt x="432" y="175"/>
                  </a:cubicBezTo>
                  <a:cubicBezTo>
                    <a:pt x="432" y="480"/>
                    <a:pt x="432" y="480"/>
                    <a:pt x="432" y="480"/>
                  </a:cubicBezTo>
                  <a:cubicBezTo>
                    <a:pt x="298" y="480"/>
                    <a:pt x="298" y="480"/>
                    <a:pt x="298" y="480"/>
                  </a:cubicBezTo>
                  <a:cubicBezTo>
                    <a:pt x="298" y="217"/>
                    <a:pt x="298" y="217"/>
                    <a:pt x="298" y="217"/>
                  </a:cubicBezTo>
                  <a:cubicBezTo>
                    <a:pt x="298" y="154"/>
                    <a:pt x="268" y="121"/>
                    <a:pt x="217" y="121"/>
                  </a:cubicBezTo>
                  <a:cubicBezTo>
                    <a:pt x="166" y="121"/>
                    <a:pt x="133" y="154"/>
                    <a:pt x="133" y="217"/>
                  </a:cubicBezTo>
                  <a:cubicBezTo>
                    <a:pt x="133" y="480"/>
                    <a:pt x="133" y="480"/>
                    <a:pt x="133" y="480"/>
                  </a:cubicBezTo>
                  <a:cubicBezTo>
                    <a:pt x="0" y="480"/>
                    <a:pt x="0" y="480"/>
                    <a:pt x="0" y="480"/>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1" name="Freeform 9">
              <a:extLst>
                <a:ext uri="{FF2B5EF4-FFF2-40B4-BE49-F238E27FC236}">
                  <a16:creationId xmlns:a16="http://schemas.microsoft.com/office/drawing/2014/main" id="{ED142D15-3F97-1719-8D74-37D26D1CAA33}"/>
                </a:ext>
              </a:extLst>
            </p:cNvPr>
            <p:cNvSpPr>
              <a:spLocks/>
            </p:cNvSpPr>
            <p:nvPr userDrawn="1"/>
          </p:nvSpPr>
          <p:spPr bwMode="auto">
            <a:xfrm>
              <a:off x="6436593" y="2649538"/>
              <a:ext cx="1460500" cy="2063750"/>
            </a:xfrm>
            <a:custGeom>
              <a:avLst/>
              <a:gdLst>
                <a:gd name="T0" fmla="*/ 0 w 920"/>
                <a:gd name="T1" fmla="*/ 0 h 1300"/>
                <a:gd name="T2" fmla="*/ 270 w 920"/>
                <a:gd name="T3" fmla="*/ 0 h 1300"/>
                <a:gd name="T4" fmla="*/ 270 w 920"/>
                <a:gd name="T5" fmla="*/ 692 h 1300"/>
                <a:gd name="T6" fmla="*/ 585 w 920"/>
                <a:gd name="T7" fmla="*/ 346 h 1300"/>
                <a:gd name="T8" fmla="*/ 908 w 920"/>
                <a:gd name="T9" fmla="*/ 346 h 1300"/>
                <a:gd name="T10" fmla="*/ 547 w 920"/>
                <a:gd name="T11" fmla="*/ 721 h 1300"/>
                <a:gd name="T12" fmla="*/ 920 w 920"/>
                <a:gd name="T13" fmla="*/ 1300 h 1300"/>
                <a:gd name="T14" fmla="*/ 609 w 920"/>
                <a:gd name="T15" fmla="*/ 1300 h 1300"/>
                <a:gd name="T16" fmla="*/ 365 w 920"/>
                <a:gd name="T17" fmla="*/ 909 h 1300"/>
                <a:gd name="T18" fmla="*/ 270 w 920"/>
                <a:gd name="T19" fmla="*/ 1010 h 1300"/>
                <a:gd name="T20" fmla="*/ 270 w 920"/>
                <a:gd name="T21" fmla="*/ 1300 h 1300"/>
                <a:gd name="T22" fmla="*/ 0 w 920"/>
                <a:gd name="T23" fmla="*/ 1300 h 1300"/>
                <a:gd name="T24" fmla="*/ 0 w 920"/>
                <a:gd name="T2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0" h="1300">
                  <a:moveTo>
                    <a:pt x="0" y="0"/>
                  </a:moveTo>
                  <a:lnTo>
                    <a:pt x="270" y="0"/>
                  </a:lnTo>
                  <a:lnTo>
                    <a:pt x="270" y="692"/>
                  </a:lnTo>
                  <a:lnTo>
                    <a:pt x="585" y="346"/>
                  </a:lnTo>
                  <a:lnTo>
                    <a:pt x="908" y="346"/>
                  </a:lnTo>
                  <a:lnTo>
                    <a:pt x="547" y="721"/>
                  </a:lnTo>
                  <a:lnTo>
                    <a:pt x="920" y="1300"/>
                  </a:lnTo>
                  <a:lnTo>
                    <a:pt x="609" y="1300"/>
                  </a:lnTo>
                  <a:lnTo>
                    <a:pt x="365" y="909"/>
                  </a:lnTo>
                  <a:lnTo>
                    <a:pt x="270" y="1010"/>
                  </a:lnTo>
                  <a:lnTo>
                    <a:pt x="270" y="1300"/>
                  </a:lnTo>
                  <a:lnTo>
                    <a:pt x="0" y="13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2" name="Freeform 10">
              <a:extLst>
                <a:ext uri="{FF2B5EF4-FFF2-40B4-BE49-F238E27FC236}">
                  <a16:creationId xmlns:a16="http://schemas.microsoft.com/office/drawing/2014/main" id="{6FEBB0B2-4586-05AB-B4FE-055E54F117A8}"/>
                </a:ext>
              </a:extLst>
            </p:cNvPr>
            <p:cNvSpPr>
              <a:spLocks/>
            </p:cNvSpPr>
            <p:nvPr userDrawn="1"/>
          </p:nvSpPr>
          <p:spPr bwMode="auto">
            <a:xfrm>
              <a:off x="7919896" y="3173413"/>
              <a:ext cx="1227138" cy="1568450"/>
            </a:xfrm>
            <a:custGeom>
              <a:avLst/>
              <a:gdLst>
                <a:gd name="T0" fmla="*/ 0 w 383"/>
                <a:gd name="T1" fmla="*/ 417 h 488"/>
                <a:gd name="T2" fmla="*/ 57 w 383"/>
                <a:gd name="T3" fmla="*/ 329 h 488"/>
                <a:gd name="T4" fmla="*/ 206 w 383"/>
                <a:gd name="T5" fmla="*/ 385 h 488"/>
                <a:gd name="T6" fmla="*/ 262 w 383"/>
                <a:gd name="T7" fmla="*/ 350 h 488"/>
                <a:gd name="T8" fmla="*/ 262 w 383"/>
                <a:gd name="T9" fmla="*/ 348 h 488"/>
                <a:gd name="T10" fmla="*/ 165 w 383"/>
                <a:gd name="T11" fmla="*/ 294 h 488"/>
                <a:gd name="T12" fmla="*/ 24 w 383"/>
                <a:gd name="T13" fmla="*/ 152 h 488"/>
                <a:gd name="T14" fmla="*/ 24 w 383"/>
                <a:gd name="T15" fmla="*/ 150 h 488"/>
                <a:gd name="T16" fmla="*/ 196 w 383"/>
                <a:gd name="T17" fmla="*/ 0 h 488"/>
                <a:gd name="T18" fmla="*/ 372 w 383"/>
                <a:gd name="T19" fmla="*/ 55 h 488"/>
                <a:gd name="T20" fmla="*/ 321 w 383"/>
                <a:gd name="T21" fmla="*/ 147 h 488"/>
                <a:gd name="T22" fmla="*/ 194 w 383"/>
                <a:gd name="T23" fmla="*/ 103 h 488"/>
                <a:gd name="T24" fmla="*/ 144 w 383"/>
                <a:gd name="T25" fmla="*/ 136 h 488"/>
                <a:gd name="T26" fmla="*/ 144 w 383"/>
                <a:gd name="T27" fmla="*/ 138 h 488"/>
                <a:gd name="T28" fmla="*/ 240 w 383"/>
                <a:gd name="T29" fmla="*/ 194 h 488"/>
                <a:gd name="T30" fmla="*/ 383 w 383"/>
                <a:gd name="T31" fmla="*/ 334 h 488"/>
                <a:gd name="T32" fmla="*/ 383 w 383"/>
                <a:gd name="T33" fmla="*/ 336 h 488"/>
                <a:gd name="T34" fmla="*/ 203 w 383"/>
                <a:gd name="T35" fmla="*/ 488 h 488"/>
                <a:gd name="T36" fmla="*/ 0 w 383"/>
                <a:gd name="T37" fmla="*/ 41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3" h="488">
                  <a:moveTo>
                    <a:pt x="0" y="417"/>
                  </a:moveTo>
                  <a:cubicBezTo>
                    <a:pt x="57" y="329"/>
                    <a:pt x="57" y="329"/>
                    <a:pt x="57" y="329"/>
                  </a:cubicBezTo>
                  <a:cubicBezTo>
                    <a:pt x="108" y="366"/>
                    <a:pt x="162" y="385"/>
                    <a:pt x="206" y="385"/>
                  </a:cubicBezTo>
                  <a:cubicBezTo>
                    <a:pt x="245" y="385"/>
                    <a:pt x="262" y="371"/>
                    <a:pt x="262" y="350"/>
                  </a:cubicBezTo>
                  <a:cubicBezTo>
                    <a:pt x="262" y="348"/>
                    <a:pt x="262" y="348"/>
                    <a:pt x="262" y="348"/>
                  </a:cubicBezTo>
                  <a:cubicBezTo>
                    <a:pt x="262" y="319"/>
                    <a:pt x="217" y="309"/>
                    <a:pt x="165" y="294"/>
                  </a:cubicBezTo>
                  <a:cubicBezTo>
                    <a:pt x="99" y="274"/>
                    <a:pt x="24" y="243"/>
                    <a:pt x="24" y="152"/>
                  </a:cubicBezTo>
                  <a:cubicBezTo>
                    <a:pt x="24" y="150"/>
                    <a:pt x="24" y="150"/>
                    <a:pt x="24" y="150"/>
                  </a:cubicBezTo>
                  <a:cubicBezTo>
                    <a:pt x="24" y="54"/>
                    <a:pt x="101" y="0"/>
                    <a:pt x="196" y="0"/>
                  </a:cubicBezTo>
                  <a:cubicBezTo>
                    <a:pt x="256" y="0"/>
                    <a:pt x="321" y="21"/>
                    <a:pt x="372" y="55"/>
                  </a:cubicBezTo>
                  <a:cubicBezTo>
                    <a:pt x="321" y="147"/>
                    <a:pt x="321" y="147"/>
                    <a:pt x="321" y="147"/>
                  </a:cubicBezTo>
                  <a:cubicBezTo>
                    <a:pt x="275" y="120"/>
                    <a:pt x="228" y="103"/>
                    <a:pt x="194" y="103"/>
                  </a:cubicBezTo>
                  <a:cubicBezTo>
                    <a:pt x="161" y="103"/>
                    <a:pt x="144" y="118"/>
                    <a:pt x="144" y="136"/>
                  </a:cubicBezTo>
                  <a:cubicBezTo>
                    <a:pt x="144" y="138"/>
                    <a:pt x="144" y="138"/>
                    <a:pt x="144" y="138"/>
                  </a:cubicBezTo>
                  <a:cubicBezTo>
                    <a:pt x="144" y="164"/>
                    <a:pt x="189" y="176"/>
                    <a:pt x="240" y="194"/>
                  </a:cubicBezTo>
                  <a:cubicBezTo>
                    <a:pt x="306" y="216"/>
                    <a:pt x="383" y="248"/>
                    <a:pt x="383" y="334"/>
                  </a:cubicBezTo>
                  <a:cubicBezTo>
                    <a:pt x="383" y="336"/>
                    <a:pt x="383" y="336"/>
                    <a:pt x="383" y="336"/>
                  </a:cubicBezTo>
                  <a:cubicBezTo>
                    <a:pt x="383" y="440"/>
                    <a:pt x="305" y="488"/>
                    <a:pt x="203" y="488"/>
                  </a:cubicBezTo>
                  <a:cubicBezTo>
                    <a:pt x="137" y="488"/>
                    <a:pt x="63" y="466"/>
                    <a:pt x="0"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3" name="Oval 11">
              <a:extLst>
                <a:ext uri="{FF2B5EF4-FFF2-40B4-BE49-F238E27FC236}">
                  <a16:creationId xmlns:a16="http://schemas.microsoft.com/office/drawing/2014/main" id="{70877F96-1F23-E1FC-71E9-01EE358F60FD}"/>
                </a:ext>
              </a:extLst>
            </p:cNvPr>
            <p:cNvSpPr>
              <a:spLocks noChangeArrowheads="1"/>
            </p:cNvSpPr>
            <p:nvPr userDrawn="1"/>
          </p:nvSpPr>
          <p:spPr bwMode="auto">
            <a:xfrm>
              <a:off x="9282260" y="4167188"/>
              <a:ext cx="544513" cy="546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36" name="Group 35">
            <a:extLst>
              <a:ext uri="{FF2B5EF4-FFF2-40B4-BE49-F238E27FC236}">
                <a16:creationId xmlns:a16="http://schemas.microsoft.com/office/drawing/2014/main" id="{3B2584B0-B37E-E020-07A7-BAB961C43514}"/>
              </a:ext>
            </a:extLst>
          </p:cNvPr>
          <p:cNvGrpSpPr/>
          <p:nvPr userDrawn="1"/>
        </p:nvGrpSpPr>
        <p:grpSpPr>
          <a:xfrm>
            <a:off x="9392771" y="767096"/>
            <a:ext cx="2800816" cy="1898696"/>
            <a:chOff x="9390324" y="767096"/>
            <a:chExt cx="2800087" cy="1898696"/>
          </a:xfrm>
        </p:grpSpPr>
        <p:grpSp>
          <p:nvGrpSpPr>
            <p:cNvPr id="37" name="Group 36">
              <a:extLst>
                <a:ext uri="{FF2B5EF4-FFF2-40B4-BE49-F238E27FC236}">
                  <a16:creationId xmlns:a16="http://schemas.microsoft.com/office/drawing/2014/main" id="{19DB8BCA-C082-90D7-926B-C6CF4AF09E1C}"/>
                </a:ext>
              </a:extLst>
            </p:cNvPr>
            <p:cNvGrpSpPr/>
            <p:nvPr userDrawn="1"/>
          </p:nvGrpSpPr>
          <p:grpSpPr>
            <a:xfrm>
              <a:off x="9390324" y="936748"/>
              <a:ext cx="1965963" cy="1042086"/>
              <a:chOff x="4988072" y="501936"/>
              <a:chExt cx="1978802" cy="1051017"/>
            </a:xfrm>
            <a:solidFill>
              <a:schemeClr val="accent1"/>
            </a:solidFill>
          </p:grpSpPr>
          <p:sp>
            <p:nvSpPr>
              <p:cNvPr id="46" name="Freeform 5">
                <a:extLst>
                  <a:ext uri="{FF2B5EF4-FFF2-40B4-BE49-F238E27FC236}">
                    <a16:creationId xmlns:a16="http://schemas.microsoft.com/office/drawing/2014/main" id="{752B143C-EA30-88CF-4159-D3220D524390}"/>
                  </a:ext>
                </a:extLst>
              </p:cNvPr>
              <p:cNvSpPr>
                <a:spLocks/>
              </p:cNvSpPr>
              <p:nvPr userDrawn="1"/>
            </p:nvSpPr>
            <p:spPr bwMode="auto">
              <a:xfrm>
                <a:off x="5559016" y="501936"/>
                <a:ext cx="218094" cy="282813"/>
              </a:xfrm>
              <a:custGeom>
                <a:avLst/>
                <a:gdLst>
                  <a:gd name="T0" fmla="*/ 0 w 502"/>
                  <a:gd name="T1" fmla="*/ 550 h 651"/>
                  <a:gd name="T2" fmla="*/ 83 w 502"/>
                  <a:gd name="T3" fmla="*/ 451 h 651"/>
                  <a:gd name="T4" fmla="*/ 272 w 502"/>
                  <a:gd name="T5" fmla="*/ 528 h 651"/>
                  <a:gd name="T6" fmla="*/ 363 w 502"/>
                  <a:gd name="T7" fmla="*/ 469 h 651"/>
                  <a:gd name="T8" fmla="*/ 363 w 502"/>
                  <a:gd name="T9" fmla="*/ 467 h 651"/>
                  <a:gd name="T10" fmla="*/ 236 w 502"/>
                  <a:gd name="T11" fmla="*/ 386 h 651"/>
                  <a:gd name="T12" fmla="*/ 26 w 502"/>
                  <a:gd name="T13" fmla="*/ 192 h 651"/>
                  <a:gd name="T14" fmla="*/ 26 w 502"/>
                  <a:gd name="T15" fmla="*/ 191 h 651"/>
                  <a:gd name="T16" fmla="*/ 247 w 502"/>
                  <a:gd name="T17" fmla="*/ 0 h 651"/>
                  <a:gd name="T18" fmla="*/ 483 w 502"/>
                  <a:gd name="T19" fmla="*/ 80 h 651"/>
                  <a:gd name="T20" fmla="*/ 410 w 502"/>
                  <a:gd name="T21" fmla="*/ 185 h 651"/>
                  <a:gd name="T22" fmla="*/ 246 w 502"/>
                  <a:gd name="T23" fmla="*/ 123 h 651"/>
                  <a:gd name="T24" fmla="*/ 164 w 502"/>
                  <a:gd name="T25" fmla="*/ 178 h 651"/>
                  <a:gd name="T26" fmla="*/ 164 w 502"/>
                  <a:gd name="T27" fmla="*/ 180 h 651"/>
                  <a:gd name="T28" fmla="*/ 301 w 502"/>
                  <a:gd name="T29" fmla="*/ 263 h 651"/>
                  <a:gd name="T30" fmla="*/ 502 w 502"/>
                  <a:gd name="T31" fmla="*/ 453 h 651"/>
                  <a:gd name="T32" fmla="*/ 502 w 502"/>
                  <a:gd name="T33" fmla="*/ 455 h 651"/>
                  <a:gd name="T34" fmla="*/ 269 w 502"/>
                  <a:gd name="T35" fmla="*/ 651 h 651"/>
                  <a:gd name="T36" fmla="*/ 0 w 502"/>
                  <a:gd name="T37" fmla="*/ 5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651">
                    <a:moveTo>
                      <a:pt x="0" y="550"/>
                    </a:moveTo>
                    <a:cubicBezTo>
                      <a:pt x="83" y="451"/>
                      <a:pt x="83" y="451"/>
                      <a:pt x="83" y="451"/>
                    </a:cubicBezTo>
                    <a:cubicBezTo>
                      <a:pt x="140" y="498"/>
                      <a:pt x="200" y="528"/>
                      <a:pt x="272" y="528"/>
                    </a:cubicBezTo>
                    <a:cubicBezTo>
                      <a:pt x="329" y="528"/>
                      <a:pt x="363" y="506"/>
                      <a:pt x="363" y="469"/>
                    </a:cubicBezTo>
                    <a:cubicBezTo>
                      <a:pt x="363" y="467"/>
                      <a:pt x="363" y="467"/>
                      <a:pt x="363" y="467"/>
                    </a:cubicBezTo>
                    <a:cubicBezTo>
                      <a:pt x="363" y="431"/>
                      <a:pt x="342" y="413"/>
                      <a:pt x="236" y="386"/>
                    </a:cubicBezTo>
                    <a:cubicBezTo>
                      <a:pt x="108" y="354"/>
                      <a:pt x="26" y="318"/>
                      <a:pt x="26" y="192"/>
                    </a:cubicBezTo>
                    <a:cubicBezTo>
                      <a:pt x="26" y="191"/>
                      <a:pt x="26" y="191"/>
                      <a:pt x="26" y="191"/>
                    </a:cubicBezTo>
                    <a:cubicBezTo>
                      <a:pt x="26" y="76"/>
                      <a:pt x="118" y="0"/>
                      <a:pt x="247" y="0"/>
                    </a:cubicBezTo>
                    <a:cubicBezTo>
                      <a:pt x="340" y="0"/>
                      <a:pt x="419" y="29"/>
                      <a:pt x="483" y="80"/>
                    </a:cubicBezTo>
                    <a:cubicBezTo>
                      <a:pt x="410" y="185"/>
                      <a:pt x="410" y="185"/>
                      <a:pt x="410" y="185"/>
                    </a:cubicBezTo>
                    <a:cubicBezTo>
                      <a:pt x="354" y="146"/>
                      <a:pt x="299" y="123"/>
                      <a:pt x="246" y="123"/>
                    </a:cubicBezTo>
                    <a:cubicBezTo>
                      <a:pt x="192" y="123"/>
                      <a:pt x="164" y="147"/>
                      <a:pt x="164" y="178"/>
                    </a:cubicBezTo>
                    <a:cubicBezTo>
                      <a:pt x="164" y="180"/>
                      <a:pt x="164" y="180"/>
                      <a:pt x="164" y="180"/>
                    </a:cubicBezTo>
                    <a:cubicBezTo>
                      <a:pt x="164" y="221"/>
                      <a:pt x="191" y="235"/>
                      <a:pt x="301" y="263"/>
                    </a:cubicBezTo>
                    <a:cubicBezTo>
                      <a:pt x="429" y="297"/>
                      <a:pt x="502" y="343"/>
                      <a:pt x="502" y="453"/>
                    </a:cubicBezTo>
                    <a:cubicBezTo>
                      <a:pt x="502" y="455"/>
                      <a:pt x="502" y="455"/>
                      <a:pt x="502" y="455"/>
                    </a:cubicBezTo>
                    <a:cubicBezTo>
                      <a:pt x="502" y="581"/>
                      <a:pt x="406" y="651"/>
                      <a:pt x="269" y="651"/>
                    </a:cubicBezTo>
                    <a:cubicBezTo>
                      <a:pt x="173" y="651"/>
                      <a:pt x="76" y="618"/>
                      <a:pt x="0" y="550"/>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6">
                <a:extLst>
                  <a:ext uri="{FF2B5EF4-FFF2-40B4-BE49-F238E27FC236}">
                    <a16:creationId xmlns:a16="http://schemas.microsoft.com/office/drawing/2014/main" id="{2BD38F57-84A8-6CE5-5871-808CD68267FD}"/>
                  </a:ext>
                </a:extLst>
              </p:cNvPr>
              <p:cNvSpPr>
                <a:spLocks/>
              </p:cNvSpPr>
              <p:nvPr userDrawn="1"/>
            </p:nvSpPr>
            <p:spPr bwMode="auto">
              <a:xfrm>
                <a:off x="5791295" y="566212"/>
                <a:ext cx="322264" cy="214547"/>
              </a:xfrm>
              <a:custGeom>
                <a:avLst/>
                <a:gdLst>
                  <a:gd name="T0" fmla="*/ 0 w 741"/>
                  <a:gd name="T1" fmla="*/ 9 h 494"/>
                  <a:gd name="T2" fmla="*/ 138 w 741"/>
                  <a:gd name="T3" fmla="*/ 9 h 494"/>
                  <a:gd name="T4" fmla="*/ 138 w 741"/>
                  <a:gd name="T5" fmla="*/ 78 h 494"/>
                  <a:gd name="T6" fmla="*/ 281 w 741"/>
                  <a:gd name="T7" fmla="*/ 0 h 494"/>
                  <a:gd name="T8" fmla="*/ 418 w 741"/>
                  <a:gd name="T9" fmla="*/ 77 h 494"/>
                  <a:gd name="T10" fmla="*/ 577 w 741"/>
                  <a:gd name="T11" fmla="*/ 0 h 494"/>
                  <a:gd name="T12" fmla="*/ 741 w 741"/>
                  <a:gd name="T13" fmla="*/ 178 h 494"/>
                  <a:gd name="T14" fmla="*/ 741 w 741"/>
                  <a:gd name="T15" fmla="*/ 494 h 494"/>
                  <a:gd name="T16" fmla="*/ 603 w 741"/>
                  <a:gd name="T17" fmla="*/ 494 h 494"/>
                  <a:gd name="T18" fmla="*/ 603 w 741"/>
                  <a:gd name="T19" fmla="*/ 224 h 494"/>
                  <a:gd name="T20" fmla="*/ 523 w 741"/>
                  <a:gd name="T21" fmla="*/ 125 h 494"/>
                  <a:gd name="T22" fmla="*/ 439 w 741"/>
                  <a:gd name="T23" fmla="*/ 224 h 494"/>
                  <a:gd name="T24" fmla="*/ 439 w 741"/>
                  <a:gd name="T25" fmla="*/ 494 h 494"/>
                  <a:gd name="T26" fmla="*/ 302 w 741"/>
                  <a:gd name="T27" fmla="*/ 494 h 494"/>
                  <a:gd name="T28" fmla="*/ 302 w 741"/>
                  <a:gd name="T29" fmla="*/ 224 h 494"/>
                  <a:gd name="T30" fmla="*/ 221 w 741"/>
                  <a:gd name="T31" fmla="*/ 125 h 494"/>
                  <a:gd name="T32" fmla="*/ 138 w 741"/>
                  <a:gd name="T33" fmla="*/ 224 h 494"/>
                  <a:gd name="T34" fmla="*/ 138 w 741"/>
                  <a:gd name="T35" fmla="*/ 494 h 494"/>
                  <a:gd name="T36" fmla="*/ 0 w 741"/>
                  <a:gd name="T37" fmla="*/ 494 h 494"/>
                  <a:gd name="T38" fmla="*/ 0 w 741"/>
                  <a:gd name="T39"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1" h="494">
                    <a:moveTo>
                      <a:pt x="0" y="9"/>
                    </a:moveTo>
                    <a:cubicBezTo>
                      <a:pt x="138" y="9"/>
                      <a:pt x="138" y="9"/>
                      <a:pt x="138" y="9"/>
                    </a:cubicBezTo>
                    <a:cubicBezTo>
                      <a:pt x="138" y="78"/>
                      <a:pt x="138" y="78"/>
                      <a:pt x="138" y="78"/>
                    </a:cubicBezTo>
                    <a:cubicBezTo>
                      <a:pt x="170" y="37"/>
                      <a:pt x="211" y="0"/>
                      <a:pt x="281" y="0"/>
                    </a:cubicBezTo>
                    <a:cubicBezTo>
                      <a:pt x="344" y="0"/>
                      <a:pt x="392" y="28"/>
                      <a:pt x="418" y="77"/>
                    </a:cubicBezTo>
                    <a:cubicBezTo>
                      <a:pt x="460" y="27"/>
                      <a:pt x="511" y="0"/>
                      <a:pt x="577" y="0"/>
                    </a:cubicBezTo>
                    <a:cubicBezTo>
                      <a:pt x="679" y="0"/>
                      <a:pt x="741" y="62"/>
                      <a:pt x="741" y="178"/>
                    </a:cubicBezTo>
                    <a:cubicBezTo>
                      <a:pt x="741" y="494"/>
                      <a:pt x="741" y="494"/>
                      <a:pt x="741" y="494"/>
                    </a:cubicBezTo>
                    <a:cubicBezTo>
                      <a:pt x="603" y="494"/>
                      <a:pt x="603" y="494"/>
                      <a:pt x="603" y="494"/>
                    </a:cubicBezTo>
                    <a:cubicBezTo>
                      <a:pt x="603" y="224"/>
                      <a:pt x="603" y="224"/>
                      <a:pt x="603" y="224"/>
                    </a:cubicBezTo>
                    <a:cubicBezTo>
                      <a:pt x="603" y="159"/>
                      <a:pt x="574" y="125"/>
                      <a:pt x="523" y="125"/>
                    </a:cubicBezTo>
                    <a:cubicBezTo>
                      <a:pt x="471" y="125"/>
                      <a:pt x="439" y="159"/>
                      <a:pt x="439" y="224"/>
                    </a:cubicBezTo>
                    <a:cubicBezTo>
                      <a:pt x="439" y="494"/>
                      <a:pt x="439" y="494"/>
                      <a:pt x="439" y="494"/>
                    </a:cubicBezTo>
                    <a:cubicBezTo>
                      <a:pt x="302" y="494"/>
                      <a:pt x="302" y="494"/>
                      <a:pt x="302" y="494"/>
                    </a:cubicBezTo>
                    <a:cubicBezTo>
                      <a:pt x="302" y="224"/>
                      <a:pt x="302" y="224"/>
                      <a:pt x="302" y="224"/>
                    </a:cubicBezTo>
                    <a:cubicBezTo>
                      <a:pt x="302" y="159"/>
                      <a:pt x="273" y="125"/>
                      <a:pt x="221" y="125"/>
                    </a:cubicBezTo>
                    <a:cubicBezTo>
                      <a:pt x="170" y="125"/>
                      <a:pt x="138" y="159"/>
                      <a:pt x="138" y="224"/>
                    </a:cubicBezTo>
                    <a:cubicBezTo>
                      <a:pt x="138" y="494"/>
                      <a:pt x="138" y="494"/>
                      <a:pt x="138" y="494"/>
                    </a:cubicBezTo>
                    <a:cubicBezTo>
                      <a:pt x="0" y="494"/>
                      <a:pt x="0" y="494"/>
                      <a:pt x="0" y="494"/>
                    </a:cubicBezTo>
                    <a:lnTo>
                      <a:pt x="0" y="9"/>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7">
                <a:extLst>
                  <a:ext uri="{FF2B5EF4-FFF2-40B4-BE49-F238E27FC236}">
                    <a16:creationId xmlns:a16="http://schemas.microsoft.com/office/drawing/2014/main" id="{AA0572EA-FFDA-D8B6-A96C-DF4D04320440}"/>
                  </a:ext>
                </a:extLst>
              </p:cNvPr>
              <p:cNvSpPr>
                <a:spLocks noEditPoints="1"/>
              </p:cNvSpPr>
              <p:nvPr userDrawn="1"/>
            </p:nvSpPr>
            <p:spPr bwMode="auto">
              <a:xfrm>
                <a:off x="6125971" y="567985"/>
                <a:ext cx="193713" cy="216764"/>
              </a:xfrm>
              <a:custGeom>
                <a:avLst/>
                <a:gdLst>
                  <a:gd name="T0" fmla="*/ 0 w 446"/>
                  <a:gd name="T1" fmla="*/ 351 h 499"/>
                  <a:gd name="T2" fmla="*/ 0 w 446"/>
                  <a:gd name="T3" fmla="*/ 349 h 499"/>
                  <a:gd name="T4" fmla="*/ 195 w 446"/>
                  <a:gd name="T5" fmla="*/ 194 h 499"/>
                  <a:gd name="T6" fmla="*/ 314 w 446"/>
                  <a:gd name="T7" fmla="*/ 214 h 499"/>
                  <a:gd name="T8" fmla="*/ 314 w 446"/>
                  <a:gd name="T9" fmla="*/ 206 h 499"/>
                  <a:gd name="T10" fmla="*/ 210 w 446"/>
                  <a:gd name="T11" fmla="*/ 117 h 499"/>
                  <a:gd name="T12" fmla="*/ 76 w 446"/>
                  <a:gd name="T13" fmla="*/ 144 h 499"/>
                  <a:gd name="T14" fmla="*/ 42 w 446"/>
                  <a:gd name="T15" fmla="*/ 39 h 499"/>
                  <a:gd name="T16" fmla="*/ 230 w 446"/>
                  <a:gd name="T17" fmla="*/ 0 h 499"/>
                  <a:gd name="T18" fmla="*/ 394 w 446"/>
                  <a:gd name="T19" fmla="*/ 54 h 499"/>
                  <a:gd name="T20" fmla="*/ 446 w 446"/>
                  <a:gd name="T21" fmla="*/ 209 h 499"/>
                  <a:gd name="T22" fmla="*/ 446 w 446"/>
                  <a:gd name="T23" fmla="*/ 490 h 499"/>
                  <a:gd name="T24" fmla="*/ 313 w 446"/>
                  <a:gd name="T25" fmla="*/ 490 h 499"/>
                  <a:gd name="T26" fmla="*/ 313 w 446"/>
                  <a:gd name="T27" fmla="*/ 438 h 499"/>
                  <a:gd name="T28" fmla="*/ 166 w 446"/>
                  <a:gd name="T29" fmla="*/ 499 h 499"/>
                  <a:gd name="T30" fmla="*/ 0 w 446"/>
                  <a:gd name="T31" fmla="*/ 351 h 499"/>
                  <a:gd name="T32" fmla="*/ 316 w 446"/>
                  <a:gd name="T33" fmla="*/ 319 h 499"/>
                  <a:gd name="T34" fmla="*/ 316 w 446"/>
                  <a:gd name="T35" fmla="*/ 295 h 499"/>
                  <a:gd name="T36" fmla="*/ 228 w 446"/>
                  <a:gd name="T37" fmla="*/ 277 h 499"/>
                  <a:gd name="T38" fmla="*/ 133 w 446"/>
                  <a:gd name="T39" fmla="*/ 344 h 499"/>
                  <a:gd name="T40" fmla="*/ 133 w 446"/>
                  <a:gd name="T41" fmla="*/ 346 h 499"/>
                  <a:gd name="T42" fmla="*/ 208 w 446"/>
                  <a:gd name="T43" fmla="*/ 404 h 499"/>
                  <a:gd name="T44" fmla="*/ 316 w 446"/>
                  <a:gd name="T45" fmla="*/ 31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499">
                    <a:moveTo>
                      <a:pt x="0" y="351"/>
                    </a:moveTo>
                    <a:cubicBezTo>
                      <a:pt x="0" y="349"/>
                      <a:pt x="0" y="349"/>
                      <a:pt x="0" y="349"/>
                    </a:cubicBezTo>
                    <a:cubicBezTo>
                      <a:pt x="0" y="243"/>
                      <a:pt x="80" y="194"/>
                      <a:pt x="195" y="194"/>
                    </a:cubicBezTo>
                    <a:cubicBezTo>
                      <a:pt x="244" y="194"/>
                      <a:pt x="280" y="202"/>
                      <a:pt x="314" y="214"/>
                    </a:cubicBezTo>
                    <a:cubicBezTo>
                      <a:pt x="314" y="206"/>
                      <a:pt x="314" y="206"/>
                      <a:pt x="314" y="206"/>
                    </a:cubicBezTo>
                    <a:cubicBezTo>
                      <a:pt x="314" y="149"/>
                      <a:pt x="279" y="117"/>
                      <a:pt x="210" y="117"/>
                    </a:cubicBezTo>
                    <a:cubicBezTo>
                      <a:pt x="157" y="117"/>
                      <a:pt x="120" y="127"/>
                      <a:pt x="76" y="144"/>
                    </a:cubicBezTo>
                    <a:cubicBezTo>
                      <a:pt x="42" y="39"/>
                      <a:pt x="42" y="39"/>
                      <a:pt x="42" y="39"/>
                    </a:cubicBezTo>
                    <a:cubicBezTo>
                      <a:pt x="95" y="15"/>
                      <a:pt x="147" y="0"/>
                      <a:pt x="230" y="0"/>
                    </a:cubicBezTo>
                    <a:cubicBezTo>
                      <a:pt x="305" y="0"/>
                      <a:pt x="359" y="20"/>
                      <a:pt x="394" y="54"/>
                    </a:cubicBezTo>
                    <a:cubicBezTo>
                      <a:pt x="430" y="90"/>
                      <a:pt x="446" y="144"/>
                      <a:pt x="446" y="209"/>
                    </a:cubicBezTo>
                    <a:cubicBezTo>
                      <a:pt x="446" y="490"/>
                      <a:pt x="446" y="490"/>
                      <a:pt x="446" y="490"/>
                    </a:cubicBezTo>
                    <a:cubicBezTo>
                      <a:pt x="313" y="490"/>
                      <a:pt x="313" y="490"/>
                      <a:pt x="313" y="490"/>
                    </a:cubicBezTo>
                    <a:cubicBezTo>
                      <a:pt x="313" y="438"/>
                      <a:pt x="313" y="438"/>
                      <a:pt x="313" y="438"/>
                    </a:cubicBezTo>
                    <a:cubicBezTo>
                      <a:pt x="280" y="475"/>
                      <a:pt x="233" y="499"/>
                      <a:pt x="166" y="499"/>
                    </a:cubicBezTo>
                    <a:cubicBezTo>
                      <a:pt x="75" y="499"/>
                      <a:pt x="0" y="447"/>
                      <a:pt x="0" y="351"/>
                    </a:cubicBezTo>
                    <a:close/>
                    <a:moveTo>
                      <a:pt x="316" y="319"/>
                    </a:moveTo>
                    <a:cubicBezTo>
                      <a:pt x="316" y="295"/>
                      <a:pt x="316" y="295"/>
                      <a:pt x="316" y="295"/>
                    </a:cubicBezTo>
                    <a:cubicBezTo>
                      <a:pt x="292" y="284"/>
                      <a:pt x="262" y="277"/>
                      <a:pt x="228" y="277"/>
                    </a:cubicBezTo>
                    <a:cubicBezTo>
                      <a:pt x="169" y="277"/>
                      <a:pt x="133" y="300"/>
                      <a:pt x="133" y="344"/>
                    </a:cubicBezTo>
                    <a:cubicBezTo>
                      <a:pt x="133" y="346"/>
                      <a:pt x="133" y="346"/>
                      <a:pt x="133" y="346"/>
                    </a:cubicBezTo>
                    <a:cubicBezTo>
                      <a:pt x="133" y="383"/>
                      <a:pt x="164" y="404"/>
                      <a:pt x="208" y="404"/>
                    </a:cubicBezTo>
                    <a:cubicBezTo>
                      <a:pt x="272" y="404"/>
                      <a:pt x="316" y="369"/>
                      <a:pt x="316" y="319"/>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8">
                <a:extLst>
                  <a:ext uri="{FF2B5EF4-FFF2-40B4-BE49-F238E27FC236}">
                    <a16:creationId xmlns:a16="http://schemas.microsoft.com/office/drawing/2014/main" id="{9BA36A6F-FB71-28DB-07CD-B21FF32CAA76}"/>
                  </a:ext>
                </a:extLst>
              </p:cNvPr>
              <p:cNvSpPr>
                <a:spLocks/>
              </p:cNvSpPr>
              <p:nvPr userDrawn="1"/>
            </p:nvSpPr>
            <p:spPr bwMode="auto">
              <a:xfrm>
                <a:off x="6336529" y="564438"/>
                <a:ext cx="127665"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9">
                <a:extLst>
                  <a:ext uri="{FF2B5EF4-FFF2-40B4-BE49-F238E27FC236}">
                    <a16:creationId xmlns:a16="http://schemas.microsoft.com/office/drawing/2014/main" id="{44D95805-4759-1419-A377-A8CF32C87561}"/>
                  </a:ext>
                </a:extLst>
              </p:cNvPr>
              <p:cNvSpPr>
                <a:spLocks/>
              </p:cNvSpPr>
              <p:nvPr userDrawn="1"/>
            </p:nvSpPr>
            <p:spPr bwMode="auto">
              <a:xfrm>
                <a:off x="6475719" y="516121"/>
                <a:ext cx="134757" cy="268184"/>
              </a:xfrm>
              <a:custGeom>
                <a:avLst/>
                <a:gdLst>
                  <a:gd name="T0" fmla="*/ 58 w 310"/>
                  <a:gd name="T1" fmla="*/ 472 h 617"/>
                  <a:gd name="T2" fmla="*/ 58 w 310"/>
                  <a:gd name="T3" fmla="*/ 242 h 617"/>
                  <a:gd name="T4" fmla="*/ 0 w 310"/>
                  <a:gd name="T5" fmla="*/ 242 h 617"/>
                  <a:gd name="T6" fmla="*/ 0 w 310"/>
                  <a:gd name="T7" fmla="*/ 124 h 617"/>
                  <a:gd name="T8" fmla="*/ 58 w 310"/>
                  <a:gd name="T9" fmla="*/ 124 h 617"/>
                  <a:gd name="T10" fmla="*/ 58 w 310"/>
                  <a:gd name="T11" fmla="*/ 0 h 617"/>
                  <a:gd name="T12" fmla="*/ 196 w 310"/>
                  <a:gd name="T13" fmla="*/ 0 h 617"/>
                  <a:gd name="T14" fmla="*/ 196 w 310"/>
                  <a:gd name="T15" fmla="*/ 124 h 617"/>
                  <a:gd name="T16" fmla="*/ 310 w 310"/>
                  <a:gd name="T17" fmla="*/ 124 h 617"/>
                  <a:gd name="T18" fmla="*/ 310 w 310"/>
                  <a:gd name="T19" fmla="*/ 242 h 617"/>
                  <a:gd name="T20" fmla="*/ 196 w 310"/>
                  <a:gd name="T21" fmla="*/ 242 h 617"/>
                  <a:gd name="T22" fmla="*/ 196 w 310"/>
                  <a:gd name="T23" fmla="*/ 449 h 617"/>
                  <a:gd name="T24" fmla="*/ 240 w 310"/>
                  <a:gd name="T25" fmla="*/ 496 h 617"/>
                  <a:gd name="T26" fmla="*/ 308 w 310"/>
                  <a:gd name="T27" fmla="*/ 479 h 617"/>
                  <a:gd name="T28" fmla="*/ 308 w 310"/>
                  <a:gd name="T29" fmla="*/ 589 h 617"/>
                  <a:gd name="T30" fmla="*/ 199 w 310"/>
                  <a:gd name="T31" fmla="*/ 617 h 617"/>
                  <a:gd name="T32" fmla="*/ 58 w 310"/>
                  <a:gd name="T33" fmla="*/ 4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7">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6" y="0"/>
                      <a:pt x="196" y="0"/>
                      <a:pt x="196" y="0"/>
                    </a:cubicBezTo>
                    <a:cubicBezTo>
                      <a:pt x="196" y="124"/>
                      <a:pt x="196" y="124"/>
                      <a:pt x="196" y="124"/>
                    </a:cubicBezTo>
                    <a:cubicBezTo>
                      <a:pt x="310" y="124"/>
                      <a:pt x="310" y="124"/>
                      <a:pt x="310" y="124"/>
                    </a:cubicBezTo>
                    <a:cubicBezTo>
                      <a:pt x="310" y="242"/>
                      <a:pt x="310" y="242"/>
                      <a:pt x="310" y="242"/>
                    </a:cubicBezTo>
                    <a:cubicBezTo>
                      <a:pt x="196" y="242"/>
                      <a:pt x="196" y="242"/>
                      <a:pt x="196" y="242"/>
                    </a:cubicBezTo>
                    <a:cubicBezTo>
                      <a:pt x="196" y="449"/>
                      <a:pt x="196" y="449"/>
                      <a:pt x="196" y="449"/>
                    </a:cubicBezTo>
                    <a:cubicBezTo>
                      <a:pt x="196" y="481"/>
                      <a:pt x="209" y="496"/>
                      <a:pt x="240" y="496"/>
                    </a:cubicBezTo>
                    <a:cubicBezTo>
                      <a:pt x="265" y="496"/>
                      <a:pt x="288" y="490"/>
                      <a:pt x="308" y="479"/>
                    </a:cubicBezTo>
                    <a:cubicBezTo>
                      <a:pt x="308" y="589"/>
                      <a:pt x="308" y="589"/>
                      <a:pt x="308" y="589"/>
                    </a:cubicBezTo>
                    <a:cubicBezTo>
                      <a:pt x="279" y="607"/>
                      <a:pt x="245" y="617"/>
                      <a:pt x="199" y="617"/>
                    </a:cubicBezTo>
                    <a:cubicBezTo>
                      <a:pt x="115" y="617"/>
                      <a:pt x="58" y="584"/>
                      <a:pt x="58" y="472"/>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0">
                <a:extLst>
                  <a:ext uri="{FF2B5EF4-FFF2-40B4-BE49-F238E27FC236}">
                    <a16:creationId xmlns:a16="http://schemas.microsoft.com/office/drawing/2014/main" id="{2EDA3D6C-6EEF-5BB3-A5FE-991573A77F67}"/>
                  </a:ext>
                </a:extLst>
              </p:cNvPr>
              <p:cNvSpPr>
                <a:spLocks noEditPoints="1"/>
              </p:cNvSpPr>
              <p:nvPr userDrawn="1"/>
            </p:nvSpPr>
            <p:spPr bwMode="auto">
              <a:xfrm>
                <a:off x="6618455" y="566212"/>
                <a:ext cx="207012" cy="219424"/>
              </a:xfrm>
              <a:custGeom>
                <a:avLst/>
                <a:gdLst>
                  <a:gd name="T0" fmla="*/ 0 w 476"/>
                  <a:gd name="T1" fmla="*/ 254 h 505"/>
                  <a:gd name="T2" fmla="*/ 0 w 476"/>
                  <a:gd name="T3" fmla="*/ 253 h 505"/>
                  <a:gd name="T4" fmla="*/ 240 w 476"/>
                  <a:gd name="T5" fmla="*/ 0 h 505"/>
                  <a:gd name="T6" fmla="*/ 476 w 476"/>
                  <a:gd name="T7" fmla="*/ 263 h 505"/>
                  <a:gd name="T8" fmla="*/ 475 w 476"/>
                  <a:gd name="T9" fmla="*/ 300 h 505"/>
                  <a:gd name="T10" fmla="*/ 137 w 476"/>
                  <a:gd name="T11" fmla="*/ 300 h 505"/>
                  <a:gd name="T12" fmla="*/ 256 w 476"/>
                  <a:gd name="T13" fmla="*/ 395 h 505"/>
                  <a:gd name="T14" fmla="*/ 373 w 476"/>
                  <a:gd name="T15" fmla="*/ 345 h 505"/>
                  <a:gd name="T16" fmla="*/ 452 w 476"/>
                  <a:gd name="T17" fmla="*/ 415 h 505"/>
                  <a:gd name="T18" fmla="*/ 254 w 476"/>
                  <a:gd name="T19" fmla="*/ 505 h 505"/>
                  <a:gd name="T20" fmla="*/ 0 w 476"/>
                  <a:gd name="T21" fmla="*/ 254 h 505"/>
                  <a:gd name="T22" fmla="*/ 342 w 476"/>
                  <a:gd name="T23" fmla="*/ 214 h 505"/>
                  <a:gd name="T24" fmla="*/ 240 w 476"/>
                  <a:gd name="T25" fmla="*/ 111 h 505"/>
                  <a:gd name="T26" fmla="*/ 135 w 476"/>
                  <a:gd name="T27" fmla="*/ 214 h 505"/>
                  <a:gd name="T28" fmla="*/ 342 w 476"/>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05">
                    <a:moveTo>
                      <a:pt x="0" y="254"/>
                    </a:moveTo>
                    <a:cubicBezTo>
                      <a:pt x="0" y="253"/>
                      <a:pt x="0" y="253"/>
                      <a:pt x="0" y="253"/>
                    </a:cubicBezTo>
                    <a:cubicBezTo>
                      <a:pt x="0" y="114"/>
                      <a:pt x="99" y="0"/>
                      <a:pt x="240" y="0"/>
                    </a:cubicBezTo>
                    <a:cubicBezTo>
                      <a:pt x="402" y="0"/>
                      <a:pt x="476" y="126"/>
                      <a:pt x="476" y="263"/>
                    </a:cubicBezTo>
                    <a:cubicBezTo>
                      <a:pt x="476"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2" y="214"/>
                    </a:moveTo>
                    <a:cubicBezTo>
                      <a:pt x="334" y="152"/>
                      <a:pt x="298" y="111"/>
                      <a:pt x="240" y="111"/>
                    </a:cubicBezTo>
                    <a:cubicBezTo>
                      <a:pt x="183" y="111"/>
                      <a:pt x="146" y="151"/>
                      <a:pt x="135" y="214"/>
                    </a:cubicBezTo>
                    <a:lnTo>
                      <a:pt x="342" y="214"/>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1">
                <a:extLst>
                  <a:ext uri="{FF2B5EF4-FFF2-40B4-BE49-F238E27FC236}">
                    <a16:creationId xmlns:a16="http://schemas.microsoft.com/office/drawing/2014/main" id="{6D486C55-E23B-1872-D405-5DC8D2CA45F3}"/>
                  </a:ext>
                </a:extLst>
              </p:cNvPr>
              <p:cNvSpPr>
                <a:spLocks/>
              </p:cNvSpPr>
              <p:nvPr userDrawn="1"/>
            </p:nvSpPr>
            <p:spPr bwMode="auto">
              <a:xfrm>
                <a:off x="6837879" y="564438"/>
                <a:ext cx="127221"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12">
                <a:extLst>
                  <a:ext uri="{FF2B5EF4-FFF2-40B4-BE49-F238E27FC236}">
                    <a16:creationId xmlns:a16="http://schemas.microsoft.com/office/drawing/2014/main" id="{B6A43306-05AB-DDD0-5F08-A0BE5CD4518B}"/>
                  </a:ext>
                </a:extLst>
              </p:cNvPr>
              <p:cNvSpPr>
                <a:spLocks/>
              </p:cNvSpPr>
              <p:nvPr userDrawn="1"/>
            </p:nvSpPr>
            <p:spPr bwMode="auto">
              <a:xfrm>
                <a:off x="4988072" y="888476"/>
                <a:ext cx="134757" cy="268628"/>
              </a:xfrm>
              <a:custGeom>
                <a:avLst/>
                <a:gdLst>
                  <a:gd name="T0" fmla="*/ 58 w 310"/>
                  <a:gd name="T1" fmla="*/ 472 h 618"/>
                  <a:gd name="T2" fmla="*/ 58 w 310"/>
                  <a:gd name="T3" fmla="*/ 242 h 618"/>
                  <a:gd name="T4" fmla="*/ 0 w 310"/>
                  <a:gd name="T5" fmla="*/ 242 h 618"/>
                  <a:gd name="T6" fmla="*/ 0 w 310"/>
                  <a:gd name="T7" fmla="*/ 124 h 618"/>
                  <a:gd name="T8" fmla="*/ 58 w 310"/>
                  <a:gd name="T9" fmla="*/ 124 h 618"/>
                  <a:gd name="T10" fmla="*/ 58 w 310"/>
                  <a:gd name="T11" fmla="*/ 0 h 618"/>
                  <a:gd name="T12" fmla="*/ 195 w 310"/>
                  <a:gd name="T13" fmla="*/ 0 h 618"/>
                  <a:gd name="T14" fmla="*/ 195 w 310"/>
                  <a:gd name="T15" fmla="*/ 124 h 618"/>
                  <a:gd name="T16" fmla="*/ 310 w 310"/>
                  <a:gd name="T17" fmla="*/ 124 h 618"/>
                  <a:gd name="T18" fmla="*/ 310 w 310"/>
                  <a:gd name="T19" fmla="*/ 242 h 618"/>
                  <a:gd name="T20" fmla="*/ 195 w 310"/>
                  <a:gd name="T21" fmla="*/ 242 h 618"/>
                  <a:gd name="T22" fmla="*/ 195 w 310"/>
                  <a:gd name="T23" fmla="*/ 449 h 618"/>
                  <a:gd name="T24" fmla="*/ 240 w 310"/>
                  <a:gd name="T25" fmla="*/ 496 h 618"/>
                  <a:gd name="T26" fmla="*/ 308 w 310"/>
                  <a:gd name="T27" fmla="*/ 479 h 618"/>
                  <a:gd name="T28" fmla="*/ 308 w 310"/>
                  <a:gd name="T29" fmla="*/ 590 h 618"/>
                  <a:gd name="T30" fmla="*/ 199 w 310"/>
                  <a:gd name="T31" fmla="*/ 618 h 618"/>
                  <a:gd name="T32" fmla="*/ 58 w 310"/>
                  <a:gd name="T33" fmla="*/ 47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8">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5" y="0"/>
                      <a:pt x="195" y="0"/>
                      <a:pt x="195" y="0"/>
                    </a:cubicBezTo>
                    <a:cubicBezTo>
                      <a:pt x="195" y="124"/>
                      <a:pt x="195" y="124"/>
                      <a:pt x="195" y="124"/>
                    </a:cubicBezTo>
                    <a:cubicBezTo>
                      <a:pt x="310" y="124"/>
                      <a:pt x="310" y="124"/>
                      <a:pt x="310" y="124"/>
                    </a:cubicBezTo>
                    <a:cubicBezTo>
                      <a:pt x="310" y="242"/>
                      <a:pt x="310" y="242"/>
                      <a:pt x="310" y="242"/>
                    </a:cubicBezTo>
                    <a:cubicBezTo>
                      <a:pt x="195" y="242"/>
                      <a:pt x="195" y="242"/>
                      <a:pt x="195" y="242"/>
                    </a:cubicBezTo>
                    <a:cubicBezTo>
                      <a:pt x="195" y="449"/>
                      <a:pt x="195" y="449"/>
                      <a:pt x="195" y="449"/>
                    </a:cubicBezTo>
                    <a:cubicBezTo>
                      <a:pt x="195" y="481"/>
                      <a:pt x="209" y="496"/>
                      <a:pt x="240" y="496"/>
                    </a:cubicBezTo>
                    <a:cubicBezTo>
                      <a:pt x="265" y="496"/>
                      <a:pt x="288" y="490"/>
                      <a:pt x="308" y="479"/>
                    </a:cubicBezTo>
                    <a:cubicBezTo>
                      <a:pt x="308" y="590"/>
                      <a:pt x="308" y="590"/>
                      <a:pt x="308" y="590"/>
                    </a:cubicBezTo>
                    <a:cubicBezTo>
                      <a:pt x="279" y="607"/>
                      <a:pt x="245" y="618"/>
                      <a:pt x="199" y="618"/>
                    </a:cubicBezTo>
                    <a:cubicBezTo>
                      <a:pt x="115" y="618"/>
                      <a:pt x="58" y="584"/>
                      <a:pt x="58" y="472"/>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13">
                <a:extLst>
                  <a:ext uri="{FF2B5EF4-FFF2-40B4-BE49-F238E27FC236}">
                    <a16:creationId xmlns:a16="http://schemas.microsoft.com/office/drawing/2014/main" id="{D49034F6-E32B-0A8D-D89B-AA4488391FCF}"/>
                  </a:ext>
                </a:extLst>
              </p:cNvPr>
              <p:cNvSpPr>
                <a:spLocks noEditPoints="1"/>
              </p:cNvSpPr>
              <p:nvPr userDrawn="1"/>
            </p:nvSpPr>
            <p:spPr bwMode="auto">
              <a:xfrm>
                <a:off x="5131251" y="938123"/>
                <a:ext cx="207455" cy="219867"/>
              </a:xfrm>
              <a:custGeom>
                <a:avLst/>
                <a:gdLst>
                  <a:gd name="T0" fmla="*/ 0 w 477"/>
                  <a:gd name="T1" fmla="*/ 254 h 505"/>
                  <a:gd name="T2" fmla="*/ 0 w 477"/>
                  <a:gd name="T3" fmla="*/ 253 h 505"/>
                  <a:gd name="T4" fmla="*/ 240 w 477"/>
                  <a:gd name="T5" fmla="*/ 0 h 505"/>
                  <a:gd name="T6" fmla="*/ 477 w 477"/>
                  <a:gd name="T7" fmla="*/ 263 h 505"/>
                  <a:gd name="T8" fmla="*/ 475 w 477"/>
                  <a:gd name="T9" fmla="*/ 300 h 505"/>
                  <a:gd name="T10" fmla="*/ 137 w 477"/>
                  <a:gd name="T11" fmla="*/ 300 h 505"/>
                  <a:gd name="T12" fmla="*/ 256 w 477"/>
                  <a:gd name="T13" fmla="*/ 395 h 505"/>
                  <a:gd name="T14" fmla="*/ 373 w 477"/>
                  <a:gd name="T15" fmla="*/ 345 h 505"/>
                  <a:gd name="T16" fmla="*/ 452 w 477"/>
                  <a:gd name="T17" fmla="*/ 415 h 505"/>
                  <a:gd name="T18" fmla="*/ 254 w 477"/>
                  <a:gd name="T19" fmla="*/ 505 h 505"/>
                  <a:gd name="T20" fmla="*/ 0 w 477"/>
                  <a:gd name="T21" fmla="*/ 254 h 505"/>
                  <a:gd name="T22" fmla="*/ 343 w 477"/>
                  <a:gd name="T23" fmla="*/ 214 h 505"/>
                  <a:gd name="T24" fmla="*/ 240 w 477"/>
                  <a:gd name="T25" fmla="*/ 111 h 505"/>
                  <a:gd name="T26" fmla="*/ 135 w 477"/>
                  <a:gd name="T27" fmla="*/ 214 h 505"/>
                  <a:gd name="T28" fmla="*/ 343 w 477"/>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 h="505">
                    <a:moveTo>
                      <a:pt x="0" y="254"/>
                    </a:moveTo>
                    <a:cubicBezTo>
                      <a:pt x="0" y="253"/>
                      <a:pt x="0" y="253"/>
                      <a:pt x="0" y="253"/>
                    </a:cubicBezTo>
                    <a:cubicBezTo>
                      <a:pt x="0" y="114"/>
                      <a:pt x="99" y="0"/>
                      <a:pt x="240" y="0"/>
                    </a:cubicBezTo>
                    <a:cubicBezTo>
                      <a:pt x="402" y="0"/>
                      <a:pt x="477" y="126"/>
                      <a:pt x="477" y="263"/>
                    </a:cubicBezTo>
                    <a:cubicBezTo>
                      <a:pt x="477"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3" y="214"/>
                    </a:moveTo>
                    <a:cubicBezTo>
                      <a:pt x="334" y="152"/>
                      <a:pt x="298" y="111"/>
                      <a:pt x="240" y="111"/>
                    </a:cubicBezTo>
                    <a:cubicBezTo>
                      <a:pt x="183" y="111"/>
                      <a:pt x="146" y="151"/>
                      <a:pt x="135" y="214"/>
                    </a:cubicBezTo>
                    <a:lnTo>
                      <a:pt x="343" y="214"/>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14">
                <a:extLst>
                  <a:ext uri="{FF2B5EF4-FFF2-40B4-BE49-F238E27FC236}">
                    <a16:creationId xmlns:a16="http://schemas.microsoft.com/office/drawing/2014/main" id="{F7F6E1B7-B4ED-1699-C492-0032C5B8242D}"/>
                  </a:ext>
                </a:extLst>
              </p:cNvPr>
              <p:cNvSpPr>
                <a:spLocks/>
              </p:cNvSpPr>
              <p:nvPr userDrawn="1"/>
            </p:nvSpPr>
            <p:spPr bwMode="auto">
              <a:xfrm>
                <a:off x="5348015" y="938123"/>
                <a:ext cx="195486" cy="219867"/>
              </a:xfrm>
              <a:custGeom>
                <a:avLst/>
                <a:gdLst>
                  <a:gd name="T0" fmla="*/ 0 w 450"/>
                  <a:gd name="T1" fmla="*/ 254 h 505"/>
                  <a:gd name="T2" fmla="*/ 0 w 450"/>
                  <a:gd name="T3" fmla="*/ 253 h 505"/>
                  <a:gd name="T4" fmla="*/ 254 w 450"/>
                  <a:gd name="T5" fmla="*/ 0 h 505"/>
                  <a:gd name="T6" fmla="*/ 448 w 450"/>
                  <a:gd name="T7" fmla="*/ 82 h 505"/>
                  <a:gd name="T8" fmla="*/ 363 w 450"/>
                  <a:gd name="T9" fmla="*/ 172 h 505"/>
                  <a:gd name="T10" fmla="*/ 253 w 450"/>
                  <a:gd name="T11" fmla="*/ 119 h 505"/>
                  <a:gd name="T12" fmla="*/ 135 w 450"/>
                  <a:gd name="T13" fmla="*/ 251 h 505"/>
                  <a:gd name="T14" fmla="*/ 135 w 450"/>
                  <a:gd name="T15" fmla="*/ 253 h 505"/>
                  <a:gd name="T16" fmla="*/ 258 w 450"/>
                  <a:gd name="T17" fmla="*/ 387 h 505"/>
                  <a:gd name="T18" fmla="*/ 370 w 450"/>
                  <a:gd name="T19" fmla="*/ 335 h 505"/>
                  <a:gd name="T20" fmla="*/ 450 w 450"/>
                  <a:gd name="T21" fmla="*/ 416 h 505"/>
                  <a:gd name="T22" fmla="*/ 252 w 450"/>
                  <a:gd name="T23" fmla="*/ 505 h 505"/>
                  <a:gd name="T24" fmla="*/ 0 w 450"/>
                  <a:gd name="T25"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505">
                    <a:moveTo>
                      <a:pt x="0" y="254"/>
                    </a:moveTo>
                    <a:cubicBezTo>
                      <a:pt x="0" y="253"/>
                      <a:pt x="0" y="253"/>
                      <a:pt x="0" y="253"/>
                    </a:cubicBezTo>
                    <a:cubicBezTo>
                      <a:pt x="0" y="114"/>
                      <a:pt x="106" y="0"/>
                      <a:pt x="254" y="0"/>
                    </a:cubicBezTo>
                    <a:cubicBezTo>
                      <a:pt x="345" y="0"/>
                      <a:pt x="402" y="31"/>
                      <a:pt x="448" y="82"/>
                    </a:cubicBezTo>
                    <a:cubicBezTo>
                      <a:pt x="363" y="172"/>
                      <a:pt x="363" y="172"/>
                      <a:pt x="363" y="172"/>
                    </a:cubicBezTo>
                    <a:cubicBezTo>
                      <a:pt x="333" y="139"/>
                      <a:pt x="302" y="119"/>
                      <a:pt x="253" y="119"/>
                    </a:cubicBezTo>
                    <a:cubicBezTo>
                      <a:pt x="184" y="119"/>
                      <a:pt x="135" y="179"/>
                      <a:pt x="135" y="251"/>
                    </a:cubicBezTo>
                    <a:cubicBezTo>
                      <a:pt x="135" y="253"/>
                      <a:pt x="135" y="253"/>
                      <a:pt x="135" y="253"/>
                    </a:cubicBezTo>
                    <a:cubicBezTo>
                      <a:pt x="135" y="327"/>
                      <a:pt x="183" y="387"/>
                      <a:pt x="258" y="387"/>
                    </a:cubicBezTo>
                    <a:cubicBezTo>
                      <a:pt x="305" y="387"/>
                      <a:pt x="336" y="367"/>
                      <a:pt x="370" y="335"/>
                    </a:cubicBezTo>
                    <a:cubicBezTo>
                      <a:pt x="450" y="416"/>
                      <a:pt x="450" y="416"/>
                      <a:pt x="450" y="416"/>
                    </a:cubicBezTo>
                    <a:cubicBezTo>
                      <a:pt x="403" y="468"/>
                      <a:pt x="349" y="505"/>
                      <a:pt x="252" y="505"/>
                    </a:cubicBezTo>
                    <a:cubicBezTo>
                      <a:pt x="106" y="505"/>
                      <a:pt x="0" y="393"/>
                      <a:pt x="0" y="254"/>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15">
                <a:extLst>
                  <a:ext uri="{FF2B5EF4-FFF2-40B4-BE49-F238E27FC236}">
                    <a16:creationId xmlns:a16="http://schemas.microsoft.com/office/drawing/2014/main" id="{114EE99C-9EC5-3C6C-64A0-3764DA0E337F}"/>
                  </a:ext>
                </a:extLst>
              </p:cNvPr>
              <p:cNvSpPr>
                <a:spLocks/>
              </p:cNvSpPr>
              <p:nvPr userDrawn="1"/>
            </p:nvSpPr>
            <p:spPr bwMode="auto">
              <a:xfrm>
                <a:off x="5553254" y="866312"/>
                <a:ext cx="193270" cy="286802"/>
              </a:xfrm>
              <a:custGeom>
                <a:avLst/>
                <a:gdLst>
                  <a:gd name="T0" fmla="*/ 0 w 445"/>
                  <a:gd name="T1" fmla="*/ 0 h 660"/>
                  <a:gd name="T2" fmla="*/ 138 w 445"/>
                  <a:gd name="T3" fmla="*/ 0 h 660"/>
                  <a:gd name="T4" fmla="*/ 138 w 445"/>
                  <a:gd name="T5" fmla="*/ 244 h 660"/>
                  <a:gd name="T6" fmla="*/ 280 w 445"/>
                  <a:gd name="T7" fmla="*/ 166 h 660"/>
                  <a:gd name="T8" fmla="*/ 445 w 445"/>
                  <a:gd name="T9" fmla="*/ 346 h 660"/>
                  <a:gd name="T10" fmla="*/ 445 w 445"/>
                  <a:gd name="T11" fmla="*/ 660 h 660"/>
                  <a:gd name="T12" fmla="*/ 307 w 445"/>
                  <a:gd name="T13" fmla="*/ 660 h 660"/>
                  <a:gd name="T14" fmla="*/ 307 w 445"/>
                  <a:gd name="T15" fmla="*/ 390 h 660"/>
                  <a:gd name="T16" fmla="*/ 224 w 445"/>
                  <a:gd name="T17" fmla="*/ 291 h 660"/>
                  <a:gd name="T18" fmla="*/ 138 w 445"/>
                  <a:gd name="T19" fmla="*/ 390 h 660"/>
                  <a:gd name="T20" fmla="*/ 138 w 445"/>
                  <a:gd name="T21" fmla="*/ 660 h 660"/>
                  <a:gd name="T22" fmla="*/ 0 w 445"/>
                  <a:gd name="T23" fmla="*/ 660 h 660"/>
                  <a:gd name="T24" fmla="*/ 0 w 445"/>
                  <a:gd name="T2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660">
                    <a:moveTo>
                      <a:pt x="0" y="0"/>
                    </a:moveTo>
                    <a:cubicBezTo>
                      <a:pt x="138" y="0"/>
                      <a:pt x="138" y="0"/>
                      <a:pt x="138" y="0"/>
                    </a:cubicBezTo>
                    <a:cubicBezTo>
                      <a:pt x="138" y="244"/>
                      <a:pt x="138" y="244"/>
                      <a:pt x="138" y="244"/>
                    </a:cubicBezTo>
                    <a:cubicBezTo>
                      <a:pt x="169" y="203"/>
                      <a:pt x="210" y="166"/>
                      <a:pt x="280" y="166"/>
                    </a:cubicBezTo>
                    <a:cubicBezTo>
                      <a:pt x="384" y="166"/>
                      <a:pt x="445" y="235"/>
                      <a:pt x="445" y="346"/>
                    </a:cubicBezTo>
                    <a:cubicBezTo>
                      <a:pt x="445" y="660"/>
                      <a:pt x="445" y="660"/>
                      <a:pt x="445" y="660"/>
                    </a:cubicBezTo>
                    <a:cubicBezTo>
                      <a:pt x="307" y="660"/>
                      <a:pt x="307" y="660"/>
                      <a:pt x="307" y="660"/>
                    </a:cubicBezTo>
                    <a:cubicBezTo>
                      <a:pt x="307" y="390"/>
                      <a:pt x="307" y="390"/>
                      <a:pt x="307" y="390"/>
                    </a:cubicBezTo>
                    <a:cubicBezTo>
                      <a:pt x="307" y="324"/>
                      <a:pt x="276" y="291"/>
                      <a:pt x="224" y="291"/>
                    </a:cubicBezTo>
                    <a:cubicBezTo>
                      <a:pt x="171" y="291"/>
                      <a:pt x="138" y="324"/>
                      <a:pt x="138" y="390"/>
                    </a:cubicBezTo>
                    <a:cubicBezTo>
                      <a:pt x="138" y="660"/>
                      <a:pt x="138" y="660"/>
                      <a:pt x="138" y="660"/>
                    </a:cubicBezTo>
                    <a:cubicBezTo>
                      <a:pt x="0" y="660"/>
                      <a:pt x="0" y="660"/>
                      <a:pt x="0" y="660"/>
                    </a:cubicBezTo>
                    <a:lnTo>
                      <a:pt x="0" y="0"/>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16">
                <a:extLst>
                  <a:ext uri="{FF2B5EF4-FFF2-40B4-BE49-F238E27FC236}">
                    <a16:creationId xmlns:a16="http://schemas.microsoft.com/office/drawing/2014/main" id="{ECCFB330-8F90-459F-B1B5-7717B235054B}"/>
                  </a:ext>
                </a:extLst>
              </p:cNvPr>
              <p:cNvSpPr>
                <a:spLocks/>
              </p:cNvSpPr>
              <p:nvPr userDrawn="1"/>
            </p:nvSpPr>
            <p:spPr bwMode="auto">
              <a:xfrm>
                <a:off x="5762039" y="938123"/>
                <a:ext cx="192827" cy="214991"/>
              </a:xfrm>
              <a:custGeom>
                <a:avLst/>
                <a:gdLst>
                  <a:gd name="T0" fmla="*/ 0 w 444"/>
                  <a:gd name="T1" fmla="*/ 9 h 494"/>
                  <a:gd name="T2" fmla="*/ 137 w 444"/>
                  <a:gd name="T3" fmla="*/ 9 h 494"/>
                  <a:gd name="T4" fmla="*/ 137 w 444"/>
                  <a:gd name="T5" fmla="*/ 78 h 494"/>
                  <a:gd name="T6" fmla="*/ 279 w 444"/>
                  <a:gd name="T7" fmla="*/ 0 h 494"/>
                  <a:gd name="T8" fmla="*/ 444 w 444"/>
                  <a:gd name="T9" fmla="*/ 180 h 494"/>
                  <a:gd name="T10" fmla="*/ 444 w 444"/>
                  <a:gd name="T11" fmla="*/ 494 h 494"/>
                  <a:gd name="T12" fmla="*/ 306 w 444"/>
                  <a:gd name="T13" fmla="*/ 494 h 494"/>
                  <a:gd name="T14" fmla="*/ 306 w 444"/>
                  <a:gd name="T15" fmla="*/ 224 h 494"/>
                  <a:gd name="T16" fmla="*/ 223 w 444"/>
                  <a:gd name="T17" fmla="*/ 125 h 494"/>
                  <a:gd name="T18" fmla="*/ 137 w 444"/>
                  <a:gd name="T19" fmla="*/ 224 h 494"/>
                  <a:gd name="T20" fmla="*/ 137 w 444"/>
                  <a:gd name="T21" fmla="*/ 494 h 494"/>
                  <a:gd name="T22" fmla="*/ 0 w 444"/>
                  <a:gd name="T23" fmla="*/ 494 h 494"/>
                  <a:gd name="T24" fmla="*/ 0 w 444"/>
                  <a:gd name="T25"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94">
                    <a:moveTo>
                      <a:pt x="0" y="9"/>
                    </a:moveTo>
                    <a:cubicBezTo>
                      <a:pt x="137" y="9"/>
                      <a:pt x="137" y="9"/>
                      <a:pt x="137" y="9"/>
                    </a:cubicBezTo>
                    <a:cubicBezTo>
                      <a:pt x="137" y="78"/>
                      <a:pt x="137" y="78"/>
                      <a:pt x="137" y="78"/>
                    </a:cubicBezTo>
                    <a:cubicBezTo>
                      <a:pt x="169" y="37"/>
                      <a:pt x="210" y="0"/>
                      <a:pt x="279" y="0"/>
                    </a:cubicBezTo>
                    <a:cubicBezTo>
                      <a:pt x="383" y="0"/>
                      <a:pt x="444" y="69"/>
                      <a:pt x="444" y="180"/>
                    </a:cubicBezTo>
                    <a:cubicBezTo>
                      <a:pt x="444" y="494"/>
                      <a:pt x="444" y="494"/>
                      <a:pt x="444" y="494"/>
                    </a:cubicBezTo>
                    <a:cubicBezTo>
                      <a:pt x="306" y="494"/>
                      <a:pt x="306" y="494"/>
                      <a:pt x="306" y="494"/>
                    </a:cubicBezTo>
                    <a:cubicBezTo>
                      <a:pt x="306" y="224"/>
                      <a:pt x="306" y="224"/>
                      <a:pt x="306" y="224"/>
                    </a:cubicBezTo>
                    <a:cubicBezTo>
                      <a:pt x="306" y="158"/>
                      <a:pt x="276" y="125"/>
                      <a:pt x="223" y="125"/>
                    </a:cubicBezTo>
                    <a:cubicBezTo>
                      <a:pt x="171" y="125"/>
                      <a:pt x="137" y="158"/>
                      <a:pt x="137" y="224"/>
                    </a:cubicBezTo>
                    <a:cubicBezTo>
                      <a:pt x="137" y="494"/>
                      <a:pt x="137" y="494"/>
                      <a:pt x="137" y="494"/>
                    </a:cubicBezTo>
                    <a:cubicBezTo>
                      <a:pt x="0" y="494"/>
                      <a:pt x="0" y="494"/>
                      <a:pt x="0" y="494"/>
                    </a:cubicBezTo>
                    <a:lnTo>
                      <a:pt x="0" y="9"/>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Freeform 17">
                <a:extLst>
                  <a:ext uri="{FF2B5EF4-FFF2-40B4-BE49-F238E27FC236}">
                    <a16:creationId xmlns:a16="http://schemas.microsoft.com/office/drawing/2014/main" id="{89A34987-E431-2A93-3D62-912217C1C041}"/>
                  </a:ext>
                </a:extLst>
              </p:cNvPr>
              <p:cNvSpPr>
                <a:spLocks noEditPoints="1"/>
              </p:cNvSpPr>
              <p:nvPr userDrawn="1"/>
            </p:nvSpPr>
            <p:spPr bwMode="auto">
              <a:xfrm>
                <a:off x="5967277" y="938123"/>
                <a:ext cx="228289" cy="219867"/>
              </a:xfrm>
              <a:custGeom>
                <a:avLst/>
                <a:gdLst>
                  <a:gd name="T0" fmla="*/ 0 w 525"/>
                  <a:gd name="T1" fmla="*/ 254 h 505"/>
                  <a:gd name="T2" fmla="*/ 0 w 525"/>
                  <a:gd name="T3" fmla="*/ 253 h 505"/>
                  <a:gd name="T4" fmla="*/ 263 w 525"/>
                  <a:gd name="T5" fmla="*/ 0 h 505"/>
                  <a:gd name="T6" fmla="*/ 525 w 525"/>
                  <a:gd name="T7" fmla="*/ 251 h 505"/>
                  <a:gd name="T8" fmla="*/ 525 w 525"/>
                  <a:gd name="T9" fmla="*/ 253 h 505"/>
                  <a:gd name="T10" fmla="*/ 262 w 525"/>
                  <a:gd name="T11" fmla="*/ 505 h 505"/>
                  <a:gd name="T12" fmla="*/ 0 w 525"/>
                  <a:gd name="T13" fmla="*/ 254 h 505"/>
                  <a:gd name="T14" fmla="*/ 389 w 525"/>
                  <a:gd name="T15" fmla="*/ 254 h 505"/>
                  <a:gd name="T16" fmla="*/ 389 w 525"/>
                  <a:gd name="T17" fmla="*/ 253 h 505"/>
                  <a:gd name="T18" fmla="*/ 262 w 525"/>
                  <a:gd name="T19" fmla="*/ 119 h 505"/>
                  <a:gd name="T20" fmla="*/ 136 w 525"/>
                  <a:gd name="T21" fmla="*/ 251 h 505"/>
                  <a:gd name="T22" fmla="*/ 136 w 525"/>
                  <a:gd name="T23" fmla="*/ 253 h 505"/>
                  <a:gd name="T24" fmla="*/ 263 w 525"/>
                  <a:gd name="T25" fmla="*/ 387 h 505"/>
                  <a:gd name="T26" fmla="*/ 389 w 525"/>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5">
                    <a:moveTo>
                      <a:pt x="0" y="254"/>
                    </a:moveTo>
                    <a:cubicBezTo>
                      <a:pt x="0" y="253"/>
                      <a:pt x="0" y="253"/>
                      <a:pt x="0" y="253"/>
                    </a:cubicBezTo>
                    <a:cubicBezTo>
                      <a:pt x="0" y="113"/>
                      <a:pt x="112" y="0"/>
                      <a:pt x="263" y="0"/>
                    </a:cubicBezTo>
                    <a:cubicBezTo>
                      <a:pt x="414" y="0"/>
                      <a:pt x="525" y="111"/>
                      <a:pt x="525" y="251"/>
                    </a:cubicBezTo>
                    <a:cubicBezTo>
                      <a:pt x="525" y="253"/>
                      <a:pt x="525" y="253"/>
                      <a:pt x="525" y="253"/>
                    </a:cubicBezTo>
                    <a:cubicBezTo>
                      <a:pt x="525" y="392"/>
                      <a:pt x="413" y="505"/>
                      <a:pt x="262" y="505"/>
                    </a:cubicBezTo>
                    <a:cubicBezTo>
                      <a:pt x="111" y="505"/>
                      <a:pt x="0" y="394"/>
                      <a:pt x="0" y="254"/>
                    </a:cubicBezTo>
                    <a:close/>
                    <a:moveTo>
                      <a:pt x="389" y="254"/>
                    </a:moveTo>
                    <a:cubicBezTo>
                      <a:pt x="389" y="253"/>
                      <a:pt x="389" y="253"/>
                      <a:pt x="389" y="253"/>
                    </a:cubicBezTo>
                    <a:cubicBezTo>
                      <a:pt x="389" y="181"/>
                      <a:pt x="338" y="119"/>
                      <a:pt x="262" y="119"/>
                    </a:cubicBezTo>
                    <a:cubicBezTo>
                      <a:pt x="183" y="119"/>
                      <a:pt x="136" y="179"/>
                      <a:pt x="136" y="251"/>
                    </a:cubicBezTo>
                    <a:cubicBezTo>
                      <a:pt x="136" y="253"/>
                      <a:pt x="136" y="253"/>
                      <a:pt x="136" y="253"/>
                    </a:cubicBezTo>
                    <a:cubicBezTo>
                      <a:pt x="136" y="324"/>
                      <a:pt x="187" y="387"/>
                      <a:pt x="263" y="387"/>
                    </a:cubicBezTo>
                    <a:cubicBezTo>
                      <a:pt x="342" y="387"/>
                      <a:pt x="389" y="326"/>
                      <a:pt x="389" y="254"/>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18">
                <a:extLst>
                  <a:ext uri="{FF2B5EF4-FFF2-40B4-BE49-F238E27FC236}">
                    <a16:creationId xmlns:a16="http://schemas.microsoft.com/office/drawing/2014/main" id="{1F951D7F-BED8-991E-3496-7DA93E8148FD}"/>
                  </a:ext>
                </a:extLst>
              </p:cNvPr>
              <p:cNvSpPr>
                <a:spLocks noChangeArrowheads="1"/>
              </p:cNvSpPr>
              <p:nvPr userDrawn="1"/>
            </p:nvSpPr>
            <p:spPr bwMode="auto">
              <a:xfrm>
                <a:off x="6207091" y="866312"/>
                <a:ext cx="59843" cy="286802"/>
              </a:xfrm>
              <a:prstGeom prst="rect">
                <a:avLst/>
              </a:prstGeom>
              <a:solidFill>
                <a:srgbClr val="4D14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19">
                <a:extLst>
                  <a:ext uri="{FF2B5EF4-FFF2-40B4-BE49-F238E27FC236}">
                    <a16:creationId xmlns:a16="http://schemas.microsoft.com/office/drawing/2014/main" id="{272CCB53-F367-9D8A-5671-D442F70CF858}"/>
                  </a:ext>
                </a:extLst>
              </p:cNvPr>
              <p:cNvSpPr>
                <a:spLocks noEditPoints="1"/>
              </p:cNvSpPr>
              <p:nvPr userDrawn="1"/>
            </p:nvSpPr>
            <p:spPr bwMode="auto">
              <a:xfrm>
                <a:off x="6278460" y="938123"/>
                <a:ext cx="228732" cy="219867"/>
              </a:xfrm>
              <a:custGeom>
                <a:avLst/>
                <a:gdLst>
                  <a:gd name="T0" fmla="*/ 0 w 526"/>
                  <a:gd name="T1" fmla="*/ 254 h 505"/>
                  <a:gd name="T2" fmla="*/ 0 w 526"/>
                  <a:gd name="T3" fmla="*/ 253 h 505"/>
                  <a:gd name="T4" fmla="*/ 264 w 526"/>
                  <a:gd name="T5" fmla="*/ 0 h 505"/>
                  <a:gd name="T6" fmla="*/ 526 w 526"/>
                  <a:gd name="T7" fmla="*/ 251 h 505"/>
                  <a:gd name="T8" fmla="*/ 526 w 526"/>
                  <a:gd name="T9" fmla="*/ 253 h 505"/>
                  <a:gd name="T10" fmla="*/ 262 w 526"/>
                  <a:gd name="T11" fmla="*/ 505 h 505"/>
                  <a:gd name="T12" fmla="*/ 0 w 526"/>
                  <a:gd name="T13" fmla="*/ 254 h 505"/>
                  <a:gd name="T14" fmla="*/ 390 w 526"/>
                  <a:gd name="T15" fmla="*/ 254 h 505"/>
                  <a:gd name="T16" fmla="*/ 390 w 526"/>
                  <a:gd name="T17" fmla="*/ 253 h 505"/>
                  <a:gd name="T18" fmla="*/ 262 w 526"/>
                  <a:gd name="T19" fmla="*/ 119 h 505"/>
                  <a:gd name="T20" fmla="*/ 136 w 526"/>
                  <a:gd name="T21" fmla="*/ 251 h 505"/>
                  <a:gd name="T22" fmla="*/ 136 w 526"/>
                  <a:gd name="T23" fmla="*/ 253 h 505"/>
                  <a:gd name="T24" fmla="*/ 264 w 526"/>
                  <a:gd name="T25" fmla="*/ 387 h 505"/>
                  <a:gd name="T26" fmla="*/ 390 w 526"/>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05">
                    <a:moveTo>
                      <a:pt x="0" y="254"/>
                    </a:moveTo>
                    <a:cubicBezTo>
                      <a:pt x="0" y="253"/>
                      <a:pt x="0" y="253"/>
                      <a:pt x="0" y="253"/>
                    </a:cubicBezTo>
                    <a:cubicBezTo>
                      <a:pt x="0" y="113"/>
                      <a:pt x="113" y="0"/>
                      <a:pt x="264" y="0"/>
                    </a:cubicBezTo>
                    <a:cubicBezTo>
                      <a:pt x="414" y="0"/>
                      <a:pt x="526" y="111"/>
                      <a:pt x="526" y="251"/>
                    </a:cubicBezTo>
                    <a:cubicBezTo>
                      <a:pt x="526" y="253"/>
                      <a:pt x="526" y="253"/>
                      <a:pt x="526" y="253"/>
                    </a:cubicBezTo>
                    <a:cubicBezTo>
                      <a:pt x="526" y="392"/>
                      <a:pt x="413" y="505"/>
                      <a:pt x="262" y="505"/>
                    </a:cubicBezTo>
                    <a:cubicBezTo>
                      <a:pt x="112" y="505"/>
                      <a:pt x="0" y="394"/>
                      <a:pt x="0" y="254"/>
                    </a:cubicBezTo>
                    <a:close/>
                    <a:moveTo>
                      <a:pt x="390" y="254"/>
                    </a:moveTo>
                    <a:cubicBezTo>
                      <a:pt x="390" y="253"/>
                      <a:pt x="390" y="253"/>
                      <a:pt x="390" y="253"/>
                    </a:cubicBezTo>
                    <a:cubicBezTo>
                      <a:pt x="390" y="181"/>
                      <a:pt x="338" y="119"/>
                      <a:pt x="262" y="119"/>
                    </a:cubicBezTo>
                    <a:cubicBezTo>
                      <a:pt x="183" y="119"/>
                      <a:pt x="136" y="179"/>
                      <a:pt x="136" y="251"/>
                    </a:cubicBezTo>
                    <a:cubicBezTo>
                      <a:pt x="136" y="253"/>
                      <a:pt x="136" y="253"/>
                      <a:pt x="136" y="253"/>
                    </a:cubicBezTo>
                    <a:cubicBezTo>
                      <a:pt x="136" y="324"/>
                      <a:pt x="188" y="387"/>
                      <a:pt x="264" y="387"/>
                    </a:cubicBezTo>
                    <a:cubicBezTo>
                      <a:pt x="343" y="387"/>
                      <a:pt x="390" y="326"/>
                      <a:pt x="390" y="254"/>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20">
                <a:extLst>
                  <a:ext uri="{FF2B5EF4-FFF2-40B4-BE49-F238E27FC236}">
                    <a16:creationId xmlns:a16="http://schemas.microsoft.com/office/drawing/2014/main" id="{ECF911E9-8158-C08D-23FE-13CCAFED78D2}"/>
                  </a:ext>
                </a:extLst>
              </p:cNvPr>
              <p:cNvSpPr>
                <a:spLocks noEditPoints="1"/>
              </p:cNvSpPr>
              <p:nvPr userDrawn="1"/>
            </p:nvSpPr>
            <p:spPr bwMode="auto">
              <a:xfrm>
                <a:off x="6516057" y="938123"/>
                <a:ext cx="221197" cy="278823"/>
              </a:xfrm>
              <a:custGeom>
                <a:avLst/>
                <a:gdLst>
                  <a:gd name="T0" fmla="*/ 24 w 509"/>
                  <a:gd name="T1" fmla="*/ 590 h 641"/>
                  <a:gd name="T2" fmla="*/ 71 w 509"/>
                  <a:gd name="T3" fmla="*/ 487 h 641"/>
                  <a:gd name="T4" fmla="*/ 235 w 509"/>
                  <a:gd name="T5" fmla="*/ 531 h 641"/>
                  <a:gd name="T6" fmla="*/ 373 w 509"/>
                  <a:gd name="T7" fmla="*/ 399 h 641"/>
                  <a:gd name="T8" fmla="*/ 373 w 509"/>
                  <a:gd name="T9" fmla="*/ 376 h 641"/>
                  <a:gd name="T10" fmla="*/ 215 w 509"/>
                  <a:gd name="T11" fmla="*/ 454 h 641"/>
                  <a:gd name="T12" fmla="*/ 0 w 509"/>
                  <a:gd name="T13" fmla="*/ 228 h 641"/>
                  <a:gd name="T14" fmla="*/ 0 w 509"/>
                  <a:gd name="T15" fmla="*/ 226 h 641"/>
                  <a:gd name="T16" fmla="*/ 215 w 509"/>
                  <a:gd name="T17" fmla="*/ 0 h 641"/>
                  <a:gd name="T18" fmla="*/ 372 w 509"/>
                  <a:gd name="T19" fmla="*/ 72 h 641"/>
                  <a:gd name="T20" fmla="*/ 372 w 509"/>
                  <a:gd name="T21" fmla="*/ 9 h 641"/>
                  <a:gd name="T22" fmla="*/ 509 w 509"/>
                  <a:gd name="T23" fmla="*/ 9 h 641"/>
                  <a:gd name="T24" fmla="*/ 509 w 509"/>
                  <a:gd name="T25" fmla="*/ 385 h 641"/>
                  <a:gd name="T26" fmla="*/ 448 w 509"/>
                  <a:gd name="T27" fmla="*/ 576 h 641"/>
                  <a:gd name="T28" fmla="*/ 239 w 509"/>
                  <a:gd name="T29" fmla="*/ 641 h 641"/>
                  <a:gd name="T30" fmla="*/ 24 w 509"/>
                  <a:gd name="T31" fmla="*/ 590 h 641"/>
                  <a:gd name="T32" fmla="*/ 373 w 509"/>
                  <a:gd name="T33" fmla="*/ 228 h 641"/>
                  <a:gd name="T34" fmla="*/ 373 w 509"/>
                  <a:gd name="T35" fmla="*/ 226 h 641"/>
                  <a:gd name="T36" fmla="*/ 255 w 509"/>
                  <a:gd name="T37" fmla="*/ 114 h 641"/>
                  <a:gd name="T38" fmla="*/ 137 w 509"/>
                  <a:gd name="T39" fmla="*/ 226 h 641"/>
                  <a:gd name="T40" fmla="*/ 137 w 509"/>
                  <a:gd name="T41" fmla="*/ 228 h 641"/>
                  <a:gd name="T42" fmla="*/ 255 w 509"/>
                  <a:gd name="T43" fmla="*/ 340 h 641"/>
                  <a:gd name="T44" fmla="*/ 373 w 509"/>
                  <a:gd name="T45" fmla="*/ 2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9" h="641">
                    <a:moveTo>
                      <a:pt x="24" y="590"/>
                    </a:moveTo>
                    <a:cubicBezTo>
                      <a:pt x="71" y="487"/>
                      <a:pt x="71" y="487"/>
                      <a:pt x="71" y="487"/>
                    </a:cubicBezTo>
                    <a:cubicBezTo>
                      <a:pt x="121" y="515"/>
                      <a:pt x="171" y="531"/>
                      <a:pt x="235" y="531"/>
                    </a:cubicBezTo>
                    <a:cubicBezTo>
                      <a:pt x="329" y="531"/>
                      <a:pt x="373" y="486"/>
                      <a:pt x="373" y="399"/>
                    </a:cubicBezTo>
                    <a:cubicBezTo>
                      <a:pt x="373" y="376"/>
                      <a:pt x="373" y="376"/>
                      <a:pt x="373" y="376"/>
                    </a:cubicBezTo>
                    <a:cubicBezTo>
                      <a:pt x="333" y="425"/>
                      <a:pt x="288" y="454"/>
                      <a:pt x="215" y="454"/>
                    </a:cubicBezTo>
                    <a:cubicBezTo>
                      <a:pt x="102" y="454"/>
                      <a:pt x="0" y="372"/>
                      <a:pt x="0" y="228"/>
                    </a:cubicBezTo>
                    <a:cubicBezTo>
                      <a:pt x="0" y="226"/>
                      <a:pt x="0" y="226"/>
                      <a:pt x="0" y="226"/>
                    </a:cubicBezTo>
                    <a:cubicBezTo>
                      <a:pt x="0" y="82"/>
                      <a:pt x="104" y="0"/>
                      <a:pt x="215" y="0"/>
                    </a:cubicBezTo>
                    <a:cubicBezTo>
                      <a:pt x="290" y="0"/>
                      <a:pt x="334" y="32"/>
                      <a:pt x="372" y="72"/>
                    </a:cubicBezTo>
                    <a:cubicBezTo>
                      <a:pt x="372" y="9"/>
                      <a:pt x="372" y="9"/>
                      <a:pt x="372" y="9"/>
                    </a:cubicBezTo>
                    <a:cubicBezTo>
                      <a:pt x="509" y="9"/>
                      <a:pt x="509" y="9"/>
                      <a:pt x="509" y="9"/>
                    </a:cubicBezTo>
                    <a:cubicBezTo>
                      <a:pt x="509" y="385"/>
                      <a:pt x="509" y="385"/>
                      <a:pt x="509" y="385"/>
                    </a:cubicBezTo>
                    <a:cubicBezTo>
                      <a:pt x="509" y="472"/>
                      <a:pt x="488" y="535"/>
                      <a:pt x="448" y="576"/>
                    </a:cubicBezTo>
                    <a:cubicBezTo>
                      <a:pt x="402" y="621"/>
                      <a:pt x="333" y="641"/>
                      <a:pt x="239" y="641"/>
                    </a:cubicBezTo>
                    <a:cubicBezTo>
                      <a:pt x="160" y="641"/>
                      <a:pt x="86" y="623"/>
                      <a:pt x="24" y="590"/>
                    </a:cubicBezTo>
                    <a:close/>
                    <a:moveTo>
                      <a:pt x="373" y="228"/>
                    </a:moveTo>
                    <a:cubicBezTo>
                      <a:pt x="373" y="226"/>
                      <a:pt x="373" y="226"/>
                      <a:pt x="373" y="226"/>
                    </a:cubicBezTo>
                    <a:cubicBezTo>
                      <a:pt x="373" y="160"/>
                      <a:pt x="322" y="114"/>
                      <a:pt x="255" y="114"/>
                    </a:cubicBezTo>
                    <a:cubicBezTo>
                      <a:pt x="188" y="114"/>
                      <a:pt x="137" y="160"/>
                      <a:pt x="137" y="226"/>
                    </a:cubicBezTo>
                    <a:cubicBezTo>
                      <a:pt x="137" y="228"/>
                      <a:pt x="137" y="228"/>
                      <a:pt x="137" y="228"/>
                    </a:cubicBezTo>
                    <a:cubicBezTo>
                      <a:pt x="137" y="295"/>
                      <a:pt x="188" y="340"/>
                      <a:pt x="255" y="340"/>
                    </a:cubicBezTo>
                    <a:cubicBezTo>
                      <a:pt x="322" y="340"/>
                      <a:pt x="373" y="294"/>
                      <a:pt x="373" y="228"/>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21">
                <a:extLst>
                  <a:ext uri="{FF2B5EF4-FFF2-40B4-BE49-F238E27FC236}">
                    <a16:creationId xmlns:a16="http://schemas.microsoft.com/office/drawing/2014/main" id="{094B2A0F-EF14-8BE6-B468-54D6F6277E81}"/>
                  </a:ext>
                </a:extLst>
              </p:cNvPr>
              <p:cNvSpPr>
                <a:spLocks/>
              </p:cNvSpPr>
              <p:nvPr userDrawn="1"/>
            </p:nvSpPr>
            <p:spPr bwMode="auto">
              <a:xfrm>
                <a:off x="6747450" y="942113"/>
                <a:ext cx="219424" cy="275277"/>
              </a:xfrm>
              <a:custGeom>
                <a:avLst/>
                <a:gdLst>
                  <a:gd name="T0" fmla="*/ 362 w 505"/>
                  <a:gd name="T1" fmla="*/ 0 h 633"/>
                  <a:gd name="T2" fmla="*/ 505 w 505"/>
                  <a:gd name="T3" fmla="*/ 0 h 633"/>
                  <a:gd name="T4" fmla="*/ 319 w 505"/>
                  <a:gd name="T5" fmla="*/ 497 h 633"/>
                  <a:gd name="T6" fmla="*/ 159 w 505"/>
                  <a:gd name="T7" fmla="*/ 633 h 633"/>
                  <a:gd name="T8" fmla="*/ 37 w 505"/>
                  <a:gd name="T9" fmla="*/ 599 h 633"/>
                  <a:gd name="T10" fmla="*/ 83 w 505"/>
                  <a:gd name="T11" fmla="*/ 500 h 633"/>
                  <a:gd name="T12" fmla="*/ 142 w 505"/>
                  <a:gd name="T13" fmla="*/ 519 h 633"/>
                  <a:gd name="T14" fmla="*/ 190 w 505"/>
                  <a:gd name="T15" fmla="*/ 487 h 633"/>
                  <a:gd name="T16" fmla="*/ 0 w 505"/>
                  <a:gd name="T17" fmla="*/ 0 h 633"/>
                  <a:gd name="T18" fmla="*/ 146 w 505"/>
                  <a:gd name="T19" fmla="*/ 0 h 633"/>
                  <a:gd name="T20" fmla="*/ 256 w 505"/>
                  <a:gd name="T21" fmla="*/ 331 h 633"/>
                  <a:gd name="T22" fmla="*/ 362 w 505"/>
                  <a:gd name="T2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633">
                    <a:moveTo>
                      <a:pt x="362" y="0"/>
                    </a:moveTo>
                    <a:cubicBezTo>
                      <a:pt x="505" y="0"/>
                      <a:pt x="505" y="0"/>
                      <a:pt x="505" y="0"/>
                    </a:cubicBezTo>
                    <a:cubicBezTo>
                      <a:pt x="319" y="497"/>
                      <a:pt x="319" y="497"/>
                      <a:pt x="319" y="497"/>
                    </a:cubicBezTo>
                    <a:cubicBezTo>
                      <a:pt x="282" y="596"/>
                      <a:pt x="242" y="633"/>
                      <a:pt x="159" y="633"/>
                    </a:cubicBezTo>
                    <a:cubicBezTo>
                      <a:pt x="110" y="633"/>
                      <a:pt x="73" y="620"/>
                      <a:pt x="37" y="599"/>
                    </a:cubicBezTo>
                    <a:cubicBezTo>
                      <a:pt x="83" y="500"/>
                      <a:pt x="83" y="500"/>
                      <a:pt x="83" y="500"/>
                    </a:cubicBezTo>
                    <a:cubicBezTo>
                      <a:pt x="101" y="511"/>
                      <a:pt x="124" y="519"/>
                      <a:pt x="142" y="519"/>
                    </a:cubicBezTo>
                    <a:cubicBezTo>
                      <a:pt x="166" y="519"/>
                      <a:pt x="178" y="512"/>
                      <a:pt x="190" y="487"/>
                    </a:cubicBezTo>
                    <a:cubicBezTo>
                      <a:pt x="0" y="0"/>
                      <a:pt x="0" y="0"/>
                      <a:pt x="0" y="0"/>
                    </a:cubicBezTo>
                    <a:cubicBezTo>
                      <a:pt x="146" y="0"/>
                      <a:pt x="146" y="0"/>
                      <a:pt x="146" y="0"/>
                    </a:cubicBezTo>
                    <a:cubicBezTo>
                      <a:pt x="256" y="331"/>
                      <a:pt x="256" y="331"/>
                      <a:pt x="256" y="331"/>
                    </a:cubicBezTo>
                    <a:lnTo>
                      <a:pt x="362" y="0"/>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22">
                <a:extLst>
                  <a:ext uri="{FF2B5EF4-FFF2-40B4-BE49-F238E27FC236}">
                    <a16:creationId xmlns:a16="http://schemas.microsoft.com/office/drawing/2014/main" id="{BD80DF37-D70A-5EC4-04A2-4E73C4038CB0}"/>
                  </a:ext>
                </a:extLst>
              </p:cNvPr>
              <p:cNvSpPr>
                <a:spLocks/>
              </p:cNvSpPr>
              <p:nvPr userDrawn="1"/>
            </p:nvSpPr>
            <p:spPr bwMode="auto">
              <a:xfrm>
                <a:off x="6005842" y="1258171"/>
                <a:ext cx="132541" cy="290348"/>
              </a:xfrm>
              <a:custGeom>
                <a:avLst/>
                <a:gdLst>
                  <a:gd name="T0" fmla="*/ 57 w 305"/>
                  <a:gd name="T1" fmla="*/ 299 h 667"/>
                  <a:gd name="T2" fmla="*/ 0 w 305"/>
                  <a:gd name="T3" fmla="*/ 299 h 667"/>
                  <a:gd name="T4" fmla="*/ 0 w 305"/>
                  <a:gd name="T5" fmla="*/ 186 h 667"/>
                  <a:gd name="T6" fmla="*/ 57 w 305"/>
                  <a:gd name="T7" fmla="*/ 186 h 667"/>
                  <a:gd name="T8" fmla="*/ 57 w 305"/>
                  <a:gd name="T9" fmla="*/ 155 h 667"/>
                  <a:gd name="T10" fmla="*/ 96 w 305"/>
                  <a:gd name="T11" fmla="*/ 38 h 667"/>
                  <a:gd name="T12" fmla="*/ 208 w 305"/>
                  <a:gd name="T13" fmla="*/ 0 h 667"/>
                  <a:gd name="T14" fmla="*/ 305 w 305"/>
                  <a:gd name="T15" fmla="*/ 13 h 667"/>
                  <a:gd name="T16" fmla="*/ 305 w 305"/>
                  <a:gd name="T17" fmla="*/ 127 h 667"/>
                  <a:gd name="T18" fmla="*/ 243 w 305"/>
                  <a:gd name="T19" fmla="*/ 115 h 667"/>
                  <a:gd name="T20" fmla="*/ 193 w 305"/>
                  <a:gd name="T21" fmla="*/ 168 h 667"/>
                  <a:gd name="T22" fmla="*/ 193 w 305"/>
                  <a:gd name="T23" fmla="*/ 187 h 667"/>
                  <a:gd name="T24" fmla="*/ 305 w 305"/>
                  <a:gd name="T25" fmla="*/ 187 h 667"/>
                  <a:gd name="T26" fmla="*/ 305 w 305"/>
                  <a:gd name="T27" fmla="*/ 299 h 667"/>
                  <a:gd name="T28" fmla="*/ 195 w 305"/>
                  <a:gd name="T29" fmla="*/ 299 h 667"/>
                  <a:gd name="T30" fmla="*/ 195 w 305"/>
                  <a:gd name="T31" fmla="*/ 667 h 667"/>
                  <a:gd name="T32" fmla="*/ 57 w 305"/>
                  <a:gd name="T33" fmla="*/ 667 h 667"/>
                  <a:gd name="T34" fmla="*/ 57 w 305"/>
                  <a:gd name="T35" fmla="*/ 29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667">
                    <a:moveTo>
                      <a:pt x="57" y="299"/>
                    </a:moveTo>
                    <a:cubicBezTo>
                      <a:pt x="0" y="299"/>
                      <a:pt x="0" y="299"/>
                      <a:pt x="0" y="299"/>
                    </a:cubicBezTo>
                    <a:cubicBezTo>
                      <a:pt x="0" y="186"/>
                      <a:pt x="0" y="186"/>
                      <a:pt x="0" y="186"/>
                    </a:cubicBezTo>
                    <a:cubicBezTo>
                      <a:pt x="57" y="186"/>
                      <a:pt x="57" y="186"/>
                      <a:pt x="57" y="186"/>
                    </a:cubicBezTo>
                    <a:cubicBezTo>
                      <a:pt x="57" y="155"/>
                      <a:pt x="57" y="155"/>
                      <a:pt x="57" y="155"/>
                    </a:cubicBezTo>
                    <a:cubicBezTo>
                      <a:pt x="57" y="102"/>
                      <a:pt x="71" y="63"/>
                      <a:pt x="96" y="38"/>
                    </a:cubicBezTo>
                    <a:cubicBezTo>
                      <a:pt x="122" y="12"/>
                      <a:pt x="159" y="0"/>
                      <a:pt x="208" y="0"/>
                    </a:cubicBezTo>
                    <a:cubicBezTo>
                      <a:pt x="251" y="0"/>
                      <a:pt x="280" y="5"/>
                      <a:pt x="305" y="13"/>
                    </a:cubicBezTo>
                    <a:cubicBezTo>
                      <a:pt x="305" y="127"/>
                      <a:pt x="305" y="127"/>
                      <a:pt x="305" y="127"/>
                    </a:cubicBezTo>
                    <a:cubicBezTo>
                      <a:pt x="286" y="120"/>
                      <a:pt x="267" y="115"/>
                      <a:pt x="243" y="115"/>
                    </a:cubicBezTo>
                    <a:cubicBezTo>
                      <a:pt x="211" y="115"/>
                      <a:pt x="193" y="132"/>
                      <a:pt x="193" y="168"/>
                    </a:cubicBezTo>
                    <a:cubicBezTo>
                      <a:pt x="193" y="187"/>
                      <a:pt x="193" y="187"/>
                      <a:pt x="193" y="187"/>
                    </a:cubicBezTo>
                    <a:cubicBezTo>
                      <a:pt x="305" y="187"/>
                      <a:pt x="305" y="187"/>
                      <a:pt x="305" y="187"/>
                    </a:cubicBezTo>
                    <a:cubicBezTo>
                      <a:pt x="305" y="299"/>
                      <a:pt x="305" y="299"/>
                      <a:pt x="305" y="299"/>
                    </a:cubicBezTo>
                    <a:cubicBezTo>
                      <a:pt x="195" y="299"/>
                      <a:pt x="195" y="299"/>
                      <a:pt x="195" y="299"/>
                    </a:cubicBezTo>
                    <a:cubicBezTo>
                      <a:pt x="195" y="667"/>
                      <a:pt x="195" y="667"/>
                      <a:pt x="195" y="667"/>
                    </a:cubicBezTo>
                    <a:cubicBezTo>
                      <a:pt x="57" y="667"/>
                      <a:pt x="57" y="667"/>
                      <a:pt x="57" y="667"/>
                    </a:cubicBezTo>
                    <a:lnTo>
                      <a:pt x="57" y="299"/>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23">
                <a:extLst>
                  <a:ext uri="{FF2B5EF4-FFF2-40B4-BE49-F238E27FC236}">
                    <a16:creationId xmlns:a16="http://schemas.microsoft.com/office/drawing/2014/main" id="{0D00C6D5-7EC4-0318-A93F-CD6F5C708422}"/>
                  </a:ext>
                </a:extLst>
              </p:cNvPr>
              <p:cNvSpPr>
                <a:spLocks noEditPoints="1"/>
              </p:cNvSpPr>
              <p:nvPr userDrawn="1"/>
            </p:nvSpPr>
            <p:spPr bwMode="auto">
              <a:xfrm>
                <a:off x="6137497" y="1333086"/>
                <a:ext cx="228289" cy="219867"/>
              </a:xfrm>
              <a:custGeom>
                <a:avLst/>
                <a:gdLst>
                  <a:gd name="T0" fmla="*/ 0 w 525"/>
                  <a:gd name="T1" fmla="*/ 255 h 506"/>
                  <a:gd name="T2" fmla="*/ 0 w 525"/>
                  <a:gd name="T3" fmla="*/ 253 h 506"/>
                  <a:gd name="T4" fmla="*/ 263 w 525"/>
                  <a:gd name="T5" fmla="*/ 0 h 506"/>
                  <a:gd name="T6" fmla="*/ 525 w 525"/>
                  <a:gd name="T7" fmla="*/ 251 h 506"/>
                  <a:gd name="T8" fmla="*/ 525 w 525"/>
                  <a:gd name="T9" fmla="*/ 253 h 506"/>
                  <a:gd name="T10" fmla="*/ 261 w 525"/>
                  <a:gd name="T11" fmla="*/ 506 h 506"/>
                  <a:gd name="T12" fmla="*/ 0 w 525"/>
                  <a:gd name="T13" fmla="*/ 255 h 506"/>
                  <a:gd name="T14" fmla="*/ 389 w 525"/>
                  <a:gd name="T15" fmla="*/ 255 h 506"/>
                  <a:gd name="T16" fmla="*/ 389 w 525"/>
                  <a:gd name="T17" fmla="*/ 253 h 506"/>
                  <a:gd name="T18" fmla="*/ 261 w 525"/>
                  <a:gd name="T19" fmla="*/ 119 h 506"/>
                  <a:gd name="T20" fmla="*/ 135 w 525"/>
                  <a:gd name="T21" fmla="*/ 251 h 506"/>
                  <a:gd name="T22" fmla="*/ 135 w 525"/>
                  <a:gd name="T23" fmla="*/ 253 h 506"/>
                  <a:gd name="T24" fmla="*/ 263 w 525"/>
                  <a:gd name="T25" fmla="*/ 387 h 506"/>
                  <a:gd name="T26" fmla="*/ 389 w 525"/>
                  <a:gd name="T27" fmla="*/ 25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6">
                    <a:moveTo>
                      <a:pt x="0" y="255"/>
                    </a:moveTo>
                    <a:cubicBezTo>
                      <a:pt x="0" y="253"/>
                      <a:pt x="0" y="253"/>
                      <a:pt x="0" y="253"/>
                    </a:cubicBezTo>
                    <a:cubicBezTo>
                      <a:pt x="0" y="114"/>
                      <a:pt x="112" y="0"/>
                      <a:pt x="263" y="0"/>
                    </a:cubicBezTo>
                    <a:cubicBezTo>
                      <a:pt x="413" y="0"/>
                      <a:pt x="525" y="112"/>
                      <a:pt x="525" y="251"/>
                    </a:cubicBezTo>
                    <a:cubicBezTo>
                      <a:pt x="525" y="253"/>
                      <a:pt x="525" y="253"/>
                      <a:pt x="525" y="253"/>
                    </a:cubicBezTo>
                    <a:cubicBezTo>
                      <a:pt x="525" y="392"/>
                      <a:pt x="412" y="506"/>
                      <a:pt x="261" y="506"/>
                    </a:cubicBezTo>
                    <a:cubicBezTo>
                      <a:pt x="111" y="506"/>
                      <a:pt x="0" y="394"/>
                      <a:pt x="0" y="255"/>
                    </a:cubicBezTo>
                    <a:close/>
                    <a:moveTo>
                      <a:pt x="389" y="255"/>
                    </a:moveTo>
                    <a:cubicBezTo>
                      <a:pt x="389" y="253"/>
                      <a:pt x="389" y="253"/>
                      <a:pt x="389" y="253"/>
                    </a:cubicBezTo>
                    <a:cubicBezTo>
                      <a:pt x="389" y="182"/>
                      <a:pt x="337" y="119"/>
                      <a:pt x="261" y="119"/>
                    </a:cubicBezTo>
                    <a:cubicBezTo>
                      <a:pt x="183" y="119"/>
                      <a:pt x="135" y="180"/>
                      <a:pt x="135" y="251"/>
                    </a:cubicBezTo>
                    <a:cubicBezTo>
                      <a:pt x="135" y="253"/>
                      <a:pt x="135" y="253"/>
                      <a:pt x="135" y="253"/>
                    </a:cubicBezTo>
                    <a:cubicBezTo>
                      <a:pt x="135" y="325"/>
                      <a:pt x="187" y="387"/>
                      <a:pt x="263" y="387"/>
                    </a:cubicBezTo>
                    <a:cubicBezTo>
                      <a:pt x="342" y="387"/>
                      <a:pt x="389" y="326"/>
                      <a:pt x="389" y="255"/>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24">
                <a:extLst>
                  <a:ext uri="{FF2B5EF4-FFF2-40B4-BE49-F238E27FC236}">
                    <a16:creationId xmlns:a16="http://schemas.microsoft.com/office/drawing/2014/main" id="{AEB26B91-4BD3-875D-141D-DEA322007DD9}"/>
                  </a:ext>
                </a:extLst>
              </p:cNvPr>
              <p:cNvSpPr>
                <a:spLocks/>
              </p:cNvSpPr>
              <p:nvPr userDrawn="1"/>
            </p:nvSpPr>
            <p:spPr bwMode="auto">
              <a:xfrm>
                <a:off x="6379084" y="1331756"/>
                <a:ext cx="127665" cy="216764"/>
              </a:xfrm>
              <a:custGeom>
                <a:avLst/>
                <a:gdLst>
                  <a:gd name="T0" fmla="*/ 0 w 293"/>
                  <a:gd name="T1" fmla="*/ 13 h 498"/>
                  <a:gd name="T2" fmla="*/ 138 w 293"/>
                  <a:gd name="T3" fmla="*/ 13 h 498"/>
                  <a:gd name="T4" fmla="*/ 138 w 293"/>
                  <a:gd name="T5" fmla="*/ 110 h 498"/>
                  <a:gd name="T6" fmla="*/ 293 w 293"/>
                  <a:gd name="T7" fmla="*/ 3 h 498"/>
                  <a:gd name="T8" fmla="*/ 293 w 293"/>
                  <a:gd name="T9" fmla="*/ 147 h 498"/>
                  <a:gd name="T10" fmla="*/ 286 w 293"/>
                  <a:gd name="T11" fmla="*/ 147 h 498"/>
                  <a:gd name="T12" fmla="*/ 138 w 293"/>
                  <a:gd name="T13" fmla="*/ 318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0"/>
                      <a:pt x="138" y="110"/>
                      <a:pt x="138" y="110"/>
                    </a:cubicBezTo>
                    <a:cubicBezTo>
                      <a:pt x="166" y="43"/>
                      <a:pt x="211" y="0"/>
                      <a:pt x="293" y="3"/>
                    </a:cubicBezTo>
                    <a:cubicBezTo>
                      <a:pt x="293" y="147"/>
                      <a:pt x="293" y="147"/>
                      <a:pt x="293" y="147"/>
                    </a:cubicBezTo>
                    <a:cubicBezTo>
                      <a:pt x="286" y="147"/>
                      <a:pt x="286" y="147"/>
                      <a:pt x="286" y="147"/>
                    </a:cubicBezTo>
                    <a:cubicBezTo>
                      <a:pt x="194" y="147"/>
                      <a:pt x="138" y="203"/>
                      <a:pt x="138" y="318"/>
                    </a:cubicBezTo>
                    <a:cubicBezTo>
                      <a:pt x="138" y="498"/>
                      <a:pt x="138" y="498"/>
                      <a:pt x="138" y="498"/>
                    </a:cubicBezTo>
                    <a:cubicBezTo>
                      <a:pt x="0" y="498"/>
                      <a:pt x="0" y="498"/>
                      <a:pt x="0" y="498"/>
                    </a:cubicBezTo>
                    <a:lnTo>
                      <a:pt x="0" y="13"/>
                    </a:ln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25">
                <a:extLst>
                  <a:ext uri="{FF2B5EF4-FFF2-40B4-BE49-F238E27FC236}">
                    <a16:creationId xmlns:a16="http://schemas.microsoft.com/office/drawing/2014/main" id="{4F49B36A-46DF-8CB3-3466-3A29AEB0F380}"/>
                  </a:ext>
                </a:extLst>
              </p:cNvPr>
              <p:cNvSpPr>
                <a:spLocks noEditPoints="1"/>
              </p:cNvSpPr>
              <p:nvPr userDrawn="1"/>
            </p:nvSpPr>
            <p:spPr bwMode="auto">
              <a:xfrm>
                <a:off x="6582993" y="1334859"/>
                <a:ext cx="194157" cy="217207"/>
              </a:xfrm>
              <a:custGeom>
                <a:avLst/>
                <a:gdLst>
                  <a:gd name="T0" fmla="*/ 0 w 446"/>
                  <a:gd name="T1" fmla="*/ 351 h 500"/>
                  <a:gd name="T2" fmla="*/ 0 w 446"/>
                  <a:gd name="T3" fmla="*/ 349 h 500"/>
                  <a:gd name="T4" fmla="*/ 195 w 446"/>
                  <a:gd name="T5" fmla="*/ 195 h 500"/>
                  <a:gd name="T6" fmla="*/ 314 w 446"/>
                  <a:gd name="T7" fmla="*/ 215 h 500"/>
                  <a:gd name="T8" fmla="*/ 314 w 446"/>
                  <a:gd name="T9" fmla="*/ 206 h 500"/>
                  <a:gd name="T10" fmla="*/ 210 w 446"/>
                  <a:gd name="T11" fmla="*/ 118 h 500"/>
                  <a:gd name="T12" fmla="*/ 76 w 446"/>
                  <a:gd name="T13" fmla="*/ 144 h 500"/>
                  <a:gd name="T14" fmla="*/ 42 w 446"/>
                  <a:gd name="T15" fmla="*/ 39 h 500"/>
                  <a:gd name="T16" fmla="*/ 230 w 446"/>
                  <a:gd name="T17" fmla="*/ 0 h 500"/>
                  <a:gd name="T18" fmla="*/ 394 w 446"/>
                  <a:gd name="T19" fmla="*/ 54 h 500"/>
                  <a:gd name="T20" fmla="*/ 446 w 446"/>
                  <a:gd name="T21" fmla="*/ 209 h 500"/>
                  <a:gd name="T22" fmla="*/ 446 w 446"/>
                  <a:gd name="T23" fmla="*/ 491 h 500"/>
                  <a:gd name="T24" fmla="*/ 313 w 446"/>
                  <a:gd name="T25" fmla="*/ 491 h 500"/>
                  <a:gd name="T26" fmla="*/ 313 w 446"/>
                  <a:gd name="T27" fmla="*/ 438 h 500"/>
                  <a:gd name="T28" fmla="*/ 167 w 446"/>
                  <a:gd name="T29" fmla="*/ 500 h 500"/>
                  <a:gd name="T30" fmla="*/ 0 w 446"/>
                  <a:gd name="T31" fmla="*/ 351 h 500"/>
                  <a:gd name="T32" fmla="*/ 316 w 446"/>
                  <a:gd name="T33" fmla="*/ 320 h 500"/>
                  <a:gd name="T34" fmla="*/ 316 w 446"/>
                  <a:gd name="T35" fmla="*/ 295 h 500"/>
                  <a:gd name="T36" fmla="*/ 228 w 446"/>
                  <a:gd name="T37" fmla="*/ 277 h 500"/>
                  <a:gd name="T38" fmla="*/ 133 w 446"/>
                  <a:gd name="T39" fmla="*/ 344 h 500"/>
                  <a:gd name="T40" fmla="*/ 133 w 446"/>
                  <a:gd name="T41" fmla="*/ 346 h 500"/>
                  <a:gd name="T42" fmla="*/ 208 w 446"/>
                  <a:gd name="T43" fmla="*/ 405 h 500"/>
                  <a:gd name="T44" fmla="*/ 316 w 446"/>
                  <a:gd name="T45" fmla="*/ 3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500">
                    <a:moveTo>
                      <a:pt x="0" y="351"/>
                    </a:moveTo>
                    <a:cubicBezTo>
                      <a:pt x="0" y="349"/>
                      <a:pt x="0" y="349"/>
                      <a:pt x="0" y="349"/>
                    </a:cubicBezTo>
                    <a:cubicBezTo>
                      <a:pt x="0" y="244"/>
                      <a:pt x="81" y="195"/>
                      <a:pt x="195" y="195"/>
                    </a:cubicBezTo>
                    <a:cubicBezTo>
                      <a:pt x="244" y="195"/>
                      <a:pt x="280" y="203"/>
                      <a:pt x="314" y="215"/>
                    </a:cubicBezTo>
                    <a:cubicBezTo>
                      <a:pt x="314" y="206"/>
                      <a:pt x="314" y="206"/>
                      <a:pt x="314" y="206"/>
                    </a:cubicBezTo>
                    <a:cubicBezTo>
                      <a:pt x="314" y="149"/>
                      <a:pt x="279" y="118"/>
                      <a:pt x="210" y="118"/>
                    </a:cubicBezTo>
                    <a:cubicBezTo>
                      <a:pt x="157" y="118"/>
                      <a:pt x="120" y="128"/>
                      <a:pt x="76" y="144"/>
                    </a:cubicBezTo>
                    <a:cubicBezTo>
                      <a:pt x="42" y="39"/>
                      <a:pt x="42" y="39"/>
                      <a:pt x="42" y="39"/>
                    </a:cubicBezTo>
                    <a:cubicBezTo>
                      <a:pt x="95" y="15"/>
                      <a:pt x="148" y="0"/>
                      <a:pt x="230" y="0"/>
                    </a:cubicBezTo>
                    <a:cubicBezTo>
                      <a:pt x="305" y="0"/>
                      <a:pt x="359" y="20"/>
                      <a:pt x="394" y="54"/>
                    </a:cubicBezTo>
                    <a:cubicBezTo>
                      <a:pt x="430" y="91"/>
                      <a:pt x="446" y="144"/>
                      <a:pt x="446" y="209"/>
                    </a:cubicBezTo>
                    <a:cubicBezTo>
                      <a:pt x="446" y="491"/>
                      <a:pt x="446" y="491"/>
                      <a:pt x="446" y="491"/>
                    </a:cubicBezTo>
                    <a:cubicBezTo>
                      <a:pt x="313" y="491"/>
                      <a:pt x="313" y="491"/>
                      <a:pt x="313" y="491"/>
                    </a:cubicBezTo>
                    <a:cubicBezTo>
                      <a:pt x="313" y="438"/>
                      <a:pt x="313" y="438"/>
                      <a:pt x="313" y="438"/>
                    </a:cubicBezTo>
                    <a:cubicBezTo>
                      <a:pt x="280" y="475"/>
                      <a:pt x="234" y="500"/>
                      <a:pt x="167" y="500"/>
                    </a:cubicBezTo>
                    <a:cubicBezTo>
                      <a:pt x="75" y="500"/>
                      <a:pt x="0" y="447"/>
                      <a:pt x="0" y="351"/>
                    </a:cubicBezTo>
                    <a:close/>
                    <a:moveTo>
                      <a:pt x="316" y="320"/>
                    </a:moveTo>
                    <a:cubicBezTo>
                      <a:pt x="316" y="295"/>
                      <a:pt x="316" y="295"/>
                      <a:pt x="316" y="295"/>
                    </a:cubicBezTo>
                    <a:cubicBezTo>
                      <a:pt x="292" y="284"/>
                      <a:pt x="262" y="277"/>
                      <a:pt x="228" y="277"/>
                    </a:cubicBezTo>
                    <a:cubicBezTo>
                      <a:pt x="169" y="277"/>
                      <a:pt x="133" y="301"/>
                      <a:pt x="133" y="344"/>
                    </a:cubicBezTo>
                    <a:cubicBezTo>
                      <a:pt x="133" y="346"/>
                      <a:pt x="133" y="346"/>
                      <a:pt x="133" y="346"/>
                    </a:cubicBezTo>
                    <a:cubicBezTo>
                      <a:pt x="133" y="383"/>
                      <a:pt x="164" y="405"/>
                      <a:pt x="208" y="405"/>
                    </a:cubicBezTo>
                    <a:cubicBezTo>
                      <a:pt x="272" y="405"/>
                      <a:pt x="316" y="369"/>
                      <a:pt x="316" y="320"/>
                    </a:cubicBezTo>
                    <a:close/>
                  </a:path>
                </a:pathLst>
              </a:custGeom>
              <a:solidFill>
                <a:srgbClr val="4D14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Rectangle 26">
                <a:extLst>
                  <a:ext uri="{FF2B5EF4-FFF2-40B4-BE49-F238E27FC236}">
                    <a16:creationId xmlns:a16="http://schemas.microsoft.com/office/drawing/2014/main" id="{F840654A-F47B-BC37-57E2-0E27690D567F}"/>
                  </a:ext>
                </a:extLst>
              </p:cNvPr>
              <p:cNvSpPr>
                <a:spLocks noChangeArrowheads="1"/>
              </p:cNvSpPr>
              <p:nvPr userDrawn="1"/>
            </p:nvSpPr>
            <p:spPr bwMode="auto">
              <a:xfrm>
                <a:off x="6801973" y="1260831"/>
                <a:ext cx="59843" cy="287689"/>
              </a:xfrm>
              <a:prstGeom prst="rect">
                <a:avLst/>
              </a:prstGeom>
              <a:solidFill>
                <a:srgbClr val="4D14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Rectangle 27">
                <a:extLst>
                  <a:ext uri="{FF2B5EF4-FFF2-40B4-BE49-F238E27FC236}">
                    <a16:creationId xmlns:a16="http://schemas.microsoft.com/office/drawing/2014/main" id="{9ADC6671-2EE5-8226-E787-2FB7A9BBA46B}"/>
                  </a:ext>
                </a:extLst>
              </p:cNvPr>
              <p:cNvSpPr>
                <a:spLocks noChangeArrowheads="1"/>
              </p:cNvSpPr>
              <p:nvPr userDrawn="1"/>
            </p:nvSpPr>
            <p:spPr bwMode="auto">
              <a:xfrm>
                <a:off x="6886639" y="1260831"/>
                <a:ext cx="59399" cy="287689"/>
              </a:xfrm>
              <a:prstGeom prst="rect">
                <a:avLst/>
              </a:prstGeom>
              <a:solidFill>
                <a:srgbClr val="4D14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Rectangle 28">
              <a:extLst>
                <a:ext uri="{FF2B5EF4-FFF2-40B4-BE49-F238E27FC236}">
                  <a16:creationId xmlns:a16="http://schemas.microsoft.com/office/drawing/2014/main" id="{17537E70-E667-DC44-A43A-E53A50AD305E}"/>
                </a:ext>
              </a:extLst>
            </p:cNvPr>
            <p:cNvSpPr>
              <a:spLocks noChangeArrowheads="1"/>
            </p:cNvSpPr>
            <p:nvPr userDrawn="1"/>
          </p:nvSpPr>
          <p:spPr bwMode="auto">
            <a:xfrm>
              <a:off x="11556230" y="767096"/>
              <a:ext cx="634181" cy="189869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grpSp>
          <p:nvGrpSpPr>
            <p:cNvPr id="39" name="Group 38">
              <a:extLst>
                <a:ext uri="{FF2B5EF4-FFF2-40B4-BE49-F238E27FC236}">
                  <a16:creationId xmlns:a16="http://schemas.microsoft.com/office/drawing/2014/main" id="{290A113E-9CD9-B2B2-74CC-01FC73534AA3}"/>
                </a:ext>
              </a:extLst>
            </p:cNvPr>
            <p:cNvGrpSpPr/>
            <p:nvPr userDrawn="1"/>
          </p:nvGrpSpPr>
          <p:grpSpPr>
            <a:xfrm>
              <a:off x="11701122" y="936748"/>
              <a:ext cx="321494" cy="1552800"/>
              <a:chOff x="7313961" y="501936"/>
              <a:chExt cx="323594" cy="1566108"/>
            </a:xfrm>
          </p:grpSpPr>
          <p:sp>
            <p:nvSpPr>
              <p:cNvPr id="40" name="Freeform 29">
                <a:extLst>
                  <a:ext uri="{FF2B5EF4-FFF2-40B4-BE49-F238E27FC236}">
                    <a16:creationId xmlns:a16="http://schemas.microsoft.com/office/drawing/2014/main" id="{60FE0670-46BE-A30C-6A81-3F4ACF4BDA08}"/>
                  </a:ext>
                </a:extLst>
              </p:cNvPr>
              <p:cNvSpPr>
                <a:spLocks/>
              </p:cNvSpPr>
              <p:nvPr userDrawn="1"/>
            </p:nvSpPr>
            <p:spPr bwMode="auto">
              <a:xfrm>
                <a:off x="7383556" y="1311808"/>
                <a:ext cx="249567" cy="247350"/>
              </a:xfrm>
              <a:custGeom>
                <a:avLst/>
                <a:gdLst>
                  <a:gd name="T0" fmla="*/ 0 w 574"/>
                  <a:gd name="T1" fmla="*/ 229 h 569"/>
                  <a:gd name="T2" fmla="*/ 90 w 574"/>
                  <a:gd name="T3" fmla="*/ 413 h 569"/>
                  <a:gd name="T4" fmla="*/ 90 w 574"/>
                  <a:gd name="T5" fmla="*/ 413 h 569"/>
                  <a:gd name="T6" fmla="*/ 90 w 574"/>
                  <a:gd name="T7" fmla="*/ 413 h 569"/>
                  <a:gd name="T8" fmla="*/ 9 w 574"/>
                  <a:gd name="T9" fmla="*/ 413 h 569"/>
                  <a:gd name="T10" fmla="*/ 9 w 574"/>
                  <a:gd name="T11" fmla="*/ 569 h 569"/>
                  <a:gd name="T12" fmla="*/ 574 w 574"/>
                  <a:gd name="T13" fmla="*/ 569 h 569"/>
                  <a:gd name="T14" fmla="*/ 574 w 574"/>
                  <a:gd name="T15" fmla="*/ 413 h 569"/>
                  <a:gd name="T16" fmla="*/ 253 w 574"/>
                  <a:gd name="T17" fmla="*/ 413 h 569"/>
                  <a:gd name="T18" fmla="*/ 133 w 574"/>
                  <a:gd name="T19" fmla="*/ 286 h 569"/>
                  <a:gd name="T20" fmla="*/ 253 w 574"/>
                  <a:gd name="T21" fmla="*/ 155 h 569"/>
                  <a:gd name="T22" fmla="*/ 574 w 574"/>
                  <a:gd name="T23" fmla="*/ 155 h 569"/>
                  <a:gd name="T24" fmla="*/ 574 w 574"/>
                  <a:gd name="T25" fmla="*/ 0 h 569"/>
                  <a:gd name="T26" fmla="*/ 224 w 574"/>
                  <a:gd name="T27" fmla="*/ 0 h 569"/>
                  <a:gd name="T28" fmla="*/ 0 w 574"/>
                  <a:gd name="T29" fmla="*/ 22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569">
                    <a:moveTo>
                      <a:pt x="0" y="229"/>
                    </a:moveTo>
                    <a:cubicBezTo>
                      <a:pt x="0" y="294"/>
                      <a:pt x="30" y="368"/>
                      <a:pt x="90" y="413"/>
                    </a:cubicBezTo>
                    <a:cubicBezTo>
                      <a:pt x="90" y="413"/>
                      <a:pt x="90" y="413"/>
                      <a:pt x="90" y="413"/>
                    </a:cubicBezTo>
                    <a:cubicBezTo>
                      <a:pt x="90" y="413"/>
                      <a:pt x="90" y="413"/>
                      <a:pt x="90" y="413"/>
                    </a:cubicBezTo>
                    <a:cubicBezTo>
                      <a:pt x="9" y="413"/>
                      <a:pt x="9" y="413"/>
                      <a:pt x="9" y="413"/>
                    </a:cubicBezTo>
                    <a:cubicBezTo>
                      <a:pt x="9" y="569"/>
                      <a:pt x="9" y="569"/>
                      <a:pt x="9" y="569"/>
                    </a:cubicBezTo>
                    <a:cubicBezTo>
                      <a:pt x="574" y="569"/>
                      <a:pt x="574" y="569"/>
                      <a:pt x="574" y="569"/>
                    </a:cubicBezTo>
                    <a:cubicBezTo>
                      <a:pt x="574" y="413"/>
                      <a:pt x="574" y="413"/>
                      <a:pt x="574" y="413"/>
                    </a:cubicBezTo>
                    <a:cubicBezTo>
                      <a:pt x="253" y="413"/>
                      <a:pt x="253" y="413"/>
                      <a:pt x="253" y="413"/>
                    </a:cubicBezTo>
                    <a:cubicBezTo>
                      <a:pt x="195" y="413"/>
                      <a:pt x="133" y="369"/>
                      <a:pt x="133" y="286"/>
                    </a:cubicBezTo>
                    <a:cubicBezTo>
                      <a:pt x="133" y="221"/>
                      <a:pt x="178" y="155"/>
                      <a:pt x="253" y="155"/>
                    </a:cubicBezTo>
                    <a:cubicBezTo>
                      <a:pt x="574" y="155"/>
                      <a:pt x="574" y="155"/>
                      <a:pt x="574" y="155"/>
                    </a:cubicBezTo>
                    <a:cubicBezTo>
                      <a:pt x="574" y="0"/>
                      <a:pt x="574" y="0"/>
                      <a:pt x="574" y="0"/>
                    </a:cubicBezTo>
                    <a:cubicBezTo>
                      <a:pt x="224" y="0"/>
                      <a:pt x="224" y="0"/>
                      <a:pt x="224" y="0"/>
                    </a:cubicBezTo>
                    <a:cubicBezTo>
                      <a:pt x="94" y="0"/>
                      <a:pt x="0" y="93"/>
                      <a:pt x="0" y="2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0">
                <a:extLst>
                  <a:ext uri="{FF2B5EF4-FFF2-40B4-BE49-F238E27FC236}">
                    <a16:creationId xmlns:a16="http://schemas.microsoft.com/office/drawing/2014/main" id="{6E17D649-B42A-09BD-CF61-B8C1A7112E92}"/>
                  </a:ext>
                </a:extLst>
              </p:cNvPr>
              <p:cNvSpPr>
                <a:spLocks/>
              </p:cNvSpPr>
              <p:nvPr userDrawn="1"/>
            </p:nvSpPr>
            <p:spPr bwMode="auto">
              <a:xfrm>
                <a:off x="7387546" y="755049"/>
                <a:ext cx="245577" cy="276163"/>
              </a:xfrm>
              <a:custGeom>
                <a:avLst/>
                <a:gdLst>
                  <a:gd name="T0" fmla="*/ 0 w 554"/>
                  <a:gd name="T1" fmla="*/ 174 h 623"/>
                  <a:gd name="T2" fmla="*/ 377 w 554"/>
                  <a:gd name="T3" fmla="*/ 311 h 623"/>
                  <a:gd name="T4" fmla="*/ 0 w 554"/>
                  <a:gd name="T5" fmla="*/ 450 h 623"/>
                  <a:gd name="T6" fmla="*/ 0 w 554"/>
                  <a:gd name="T7" fmla="*/ 623 h 623"/>
                  <a:gd name="T8" fmla="*/ 554 w 554"/>
                  <a:gd name="T9" fmla="*/ 395 h 623"/>
                  <a:gd name="T10" fmla="*/ 554 w 554"/>
                  <a:gd name="T11" fmla="*/ 228 h 623"/>
                  <a:gd name="T12" fmla="*/ 0 w 554"/>
                  <a:gd name="T13" fmla="*/ 0 h 623"/>
                  <a:gd name="T14" fmla="*/ 0 w 554"/>
                  <a:gd name="T15" fmla="*/ 174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623">
                    <a:moveTo>
                      <a:pt x="0" y="174"/>
                    </a:moveTo>
                    <a:lnTo>
                      <a:pt x="377" y="311"/>
                    </a:lnTo>
                    <a:lnTo>
                      <a:pt x="0" y="450"/>
                    </a:lnTo>
                    <a:lnTo>
                      <a:pt x="0" y="623"/>
                    </a:lnTo>
                    <a:lnTo>
                      <a:pt x="554" y="395"/>
                    </a:lnTo>
                    <a:lnTo>
                      <a:pt x="554" y="228"/>
                    </a:lnTo>
                    <a:lnTo>
                      <a:pt x="0" y="0"/>
                    </a:lnTo>
                    <a:lnTo>
                      <a:pt x="0"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31">
                <a:extLst>
                  <a:ext uri="{FF2B5EF4-FFF2-40B4-BE49-F238E27FC236}">
                    <a16:creationId xmlns:a16="http://schemas.microsoft.com/office/drawing/2014/main" id="{8687873F-7C76-382B-60A8-B49C4C184DBA}"/>
                  </a:ext>
                </a:extLst>
              </p:cNvPr>
              <p:cNvSpPr>
                <a:spLocks noEditPoints="1"/>
              </p:cNvSpPr>
              <p:nvPr userDrawn="1"/>
            </p:nvSpPr>
            <p:spPr bwMode="auto">
              <a:xfrm>
                <a:off x="7383556" y="1583096"/>
                <a:ext cx="253999" cy="256659"/>
              </a:xfrm>
              <a:custGeom>
                <a:avLst/>
                <a:gdLst>
                  <a:gd name="T0" fmla="*/ 401 w 584"/>
                  <a:gd name="T1" fmla="*/ 110 h 590"/>
                  <a:gd name="T2" fmla="*/ 460 w 584"/>
                  <a:gd name="T3" fmla="*/ 272 h 590"/>
                  <a:gd name="T4" fmla="*/ 415 w 584"/>
                  <a:gd name="T5" fmla="*/ 397 h 590"/>
                  <a:gd name="T6" fmla="*/ 250 w 584"/>
                  <a:gd name="T7" fmla="*/ 0 h 590"/>
                  <a:gd name="T8" fmla="*/ 92 w 584"/>
                  <a:gd name="T9" fmla="*/ 68 h 590"/>
                  <a:gd name="T10" fmla="*/ 0 w 584"/>
                  <a:gd name="T11" fmla="*/ 291 h 590"/>
                  <a:gd name="T12" fmla="*/ 292 w 584"/>
                  <a:gd name="T13" fmla="*/ 590 h 590"/>
                  <a:gd name="T14" fmla="*/ 584 w 584"/>
                  <a:gd name="T15" fmla="*/ 274 h 590"/>
                  <a:gd name="T16" fmla="*/ 476 w 584"/>
                  <a:gd name="T17" fmla="*/ 12 h 590"/>
                  <a:gd name="T18" fmla="*/ 401 w 584"/>
                  <a:gd name="T19" fmla="*/ 110 h 590"/>
                  <a:gd name="T20" fmla="*/ 179 w 584"/>
                  <a:gd name="T21" fmla="*/ 408 h 590"/>
                  <a:gd name="T22" fmla="*/ 123 w 584"/>
                  <a:gd name="T23" fmla="*/ 288 h 590"/>
                  <a:gd name="T24" fmla="*/ 202 w 584"/>
                  <a:gd name="T25" fmla="*/ 168 h 590"/>
                  <a:gd name="T26" fmla="*/ 315 w 584"/>
                  <a:gd name="T27" fmla="*/ 439 h 590"/>
                  <a:gd name="T28" fmla="*/ 179 w 584"/>
                  <a:gd name="T29" fmla="*/ 40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4" h="590">
                    <a:moveTo>
                      <a:pt x="401" y="110"/>
                    </a:moveTo>
                    <a:cubicBezTo>
                      <a:pt x="449" y="175"/>
                      <a:pt x="460" y="212"/>
                      <a:pt x="460" y="272"/>
                    </a:cubicBezTo>
                    <a:cubicBezTo>
                      <a:pt x="460" y="325"/>
                      <a:pt x="444" y="367"/>
                      <a:pt x="415" y="397"/>
                    </a:cubicBezTo>
                    <a:cubicBezTo>
                      <a:pt x="250" y="0"/>
                      <a:pt x="250" y="0"/>
                      <a:pt x="250" y="0"/>
                    </a:cubicBezTo>
                    <a:cubicBezTo>
                      <a:pt x="189" y="9"/>
                      <a:pt x="134" y="32"/>
                      <a:pt x="92" y="68"/>
                    </a:cubicBezTo>
                    <a:cubicBezTo>
                      <a:pt x="32" y="120"/>
                      <a:pt x="0" y="197"/>
                      <a:pt x="0" y="291"/>
                    </a:cubicBezTo>
                    <a:cubicBezTo>
                      <a:pt x="0" y="462"/>
                      <a:pt x="126" y="590"/>
                      <a:pt x="292" y="590"/>
                    </a:cubicBezTo>
                    <a:cubicBezTo>
                      <a:pt x="462" y="590"/>
                      <a:pt x="584" y="462"/>
                      <a:pt x="584" y="274"/>
                    </a:cubicBezTo>
                    <a:cubicBezTo>
                      <a:pt x="584" y="169"/>
                      <a:pt x="534" y="62"/>
                      <a:pt x="476" y="12"/>
                    </a:cubicBezTo>
                    <a:lnTo>
                      <a:pt x="401" y="110"/>
                    </a:lnTo>
                    <a:close/>
                    <a:moveTo>
                      <a:pt x="179" y="408"/>
                    </a:moveTo>
                    <a:cubicBezTo>
                      <a:pt x="144" y="381"/>
                      <a:pt x="123" y="339"/>
                      <a:pt x="123" y="288"/>
                    </a:cubicBezTo>
                    <a:cubicBezTo>
                      <a:pt x="123" y="232"/>
                      <a:pt x="155" y="190"/>
                      <a:pt x="202" y="168"/>
                    </a:cubicBezTo>
                    <a:cubicBezTo>
                      <a:pt x="315" y="439"/>
                      <a:pt x="315" y="439"/>
                      <a:pt x="315" y="439"/>
                    </a:cubicBezTo>
                    <a:cubicBezTo>
                      <a:pt x="257" y="447"/>
                      <a:pt x="212" y="432"/>
                      <a:pt x="179" y="4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32">
                <a:extLst>
                  <a:ext uri="{FF2B5EF4-FFF2-40B4-BE49-F238E27FC236}">
                    <a16:creationId xmlns:a16="http://schemas.microsoft.com/office/drawing/2014/main" id="{FBF838FB-60C5-AA46-F549-F323F6F945C5}"/>
                  </a:ext>
                </a:extLst>
              </p:cNvPr>
              <p:cNvSpPr>
                <a:spLocks/>
              </p:cNvSpPr>
              <p:nvPr userDrawn="1"/>
            </p:nvSpPr>
            <p:spPr bwMode="auto">
              <a:xfrm>
                <a:off x="7313961" y="1846404"/>
                <a:ext cx="319161" cy="221640"/>
              </a:xfrm>
              <a:custGeom>
                <a:avLst/>
                <a:gdLst>
                  <a:gd name="T0" fmla="*/ 580 w 720"/>
                  <a:gd name="T1" fmla="*/ 0 h 500"/>
                  <a:gd name="T2" fmla="*/ 580 w 720"/>
                  <a:gd name="T3" fmla="*/ 346 h 500"/>
                  <a:gd name="T4" fmla="*/ 0 w 720"/>
                  <a:gd name="T5" fmla="*/ 346 h 500"/>
                  <a:gd name="T6" fmla="*/ 0 w 720"/>
                  <a:gd name="T7" fmla="*/ 500 h 500"/>
                  <a:gd name="T8" fmla="*/ 720 w 720"/>
                  <a:gd name="T9" fmla="*/ 500 h 500"/>
                  <a:gd name="T10" fmla="*/ 720 w 720"/>
                  <a:gd name="T11" fmla="*/ 0 h 500"/>
                  <a:gd name="T12" fmla="*/ 580 w 720"/>
                  <a:gd name="T13" fmla="*/ 0 h 500"/>
                </a:gdLst>
                <a:ahLst/>
                <a:cxnLst>
                  <a:cxn ang="0">
                    <a:pos x="T0" y="T1"/>
                  </a:cxn>
                  <a:cxn ang="0">
                    <a:pos x="T2" y="T3"/>
                  </a:cxn>
                  <a:cxn ang="0">
                    <a:pos x="T4" y="T5"/>
                  </a:cxn>
                  <a:cxn ang="0">
                    <a:pos x="T6" y="T7"/>
                  </a:cxn>
                  <a:cxn ang="0">
                    <a:pos x="T8" y="T9"/>
                  </a:cxn>
                  <a:cxn ang="0">
                    <a:pos x="T10" y="T11"/>
                  </a:cxn>
                  <a:cxn ang="0">
                    <a:pos x="T12" y="T13"/>
                  </a:cxn>
                </a:cxnLst>
                <a:rect l="0" t="0" r="r" b="b"/>
                <a:pathLst>
                  <a:path w="720" h="500">
                    <a:moveTo>
                      <a:pt x="580" y="0"/>
                    </a:moveTo>
                    <a:lnTo>
                      <a:pt x="580" y="346"/>
                    </a:lnTo>
                    <a:lnTo>
                      <a:pt x="0" y="346"/>
                    </a:lnTo>
                    <a:lnTo>
                      <a:pt x="0" y="500"/>
                    </a:lnTo>
                    <a:lnTo>
                      <a:pt x="720" y="500"/>
                    </a:lnTo>
                    <a:lnTo>
                      <a:pt x="720" y="0"/>
                    </a:lnTo>
                    <a:lnTo>
                      <a:pt x="5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33">
                <a:extLst>
                  <a:ext uri="{FF2B5EF4-FFF2-40B4-BE49-F238E27FC236}">
                    <a16:creationId xmlns:a16="http://schemas.microsoft.com/office/drawing/2014/main" id="{FA747742-768F-6F28-36C9-B9E27D07E2BD}"/>
                  </a:ext>
                </a:extLst>
              </p:cNvPr>
              <p:cNvSpPr>
                <a:spLocks noEditPoints="1"/>
              </p:cNvSpPr>
              <p:nvPr userDrawn="1"/>
            </p:nvSpPr>
            <p:spPr bwMode="auto">
              <a:xfrm>
                <a:off x="7383556" y="501936"/>
                <a:ext cx="253999" cy="263752"/>
              </a:xfrm>
              <a:custGeom>
                <a:avLst/>
                <a:gdLst>
                  <a:gd name="T0" fmla="*/ 584 w 584"/>
                  <a:gd name="T1" fmla="*/ 304 h 607"/>
                  <a:gd name="T2" fmla="*/ 292 w 584"/>
                  <a:gd name="T3" fmla="*/ 607 h 607"/>
                  <a:gd name="T4" fmla="*/ 0 w 584"/>
                  <a:gd name="T5" fmla="*/ 302 h 607"/>
                  <a:gd name="T6" fmla="*/ 292 w 584"/>
                  <a:gd name="T7" fmla="*/ 0 h 607"/>
                  <a:gd name="T8" fmla="*/ 584 w 584"/>
                  <a:gd name="T9" fmla="*/ 304 h 607"/>
                  <a:gd name="T10" fmla="*/ 133 w 584"/>
                  <a:gd name="T11" fmla="*/ 304 h 607"/>
                  <a:gd name="T12" fmla="*/ 292 w 584"/>
                  <a:gd name="T13" fmla="*/ 454 h 607"/>
                  <a:gd name="T14" fmla="*/ 451 w 584"/>
                  <a:gd name="T15" fmla="*/ 302 h 607"/>
                  <a:gd name="T16" fmla="*/ 292 w 584"/>
                  <a:gd name="T17" fmla="*/ 153 h 607"/>
                  <a:gd name="T18" fmla="*/ 133 w 584"/>
                  <a:gd name="T19" fmla="*/ 30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4"/>
                    </a:moveTo>
                    <a:cubicBezTo>
                      <a:pt x="584" y="474"/>
                      <a:pt x="457" y="607"/>
                      <a:pt x="292" y="607"/>
                    </a:cubicBezTo>
                    <a:cubicBezTo>
                      <a:pt x="128" y="607"/>
                      <a:pt x="0" y="473"/>
                      <a:pt x="0" y="302"/>
                    </a:cubicBezTo>
                    <a:cubicBezTo>
                      <a:pt x="0" y="133"/>
                      <a:pt x="126" y="0"/>
                      <a:pt x="292" y="0"/>
                    </a:cubicBezTo>
                    <a:cubicBezTo>
                      <a:pt x="455" y="0"/>
                      <a:pt x="584" y="133"/>
                      <a:pt x="584" y="304"/>
                    </a:cubicBezTo>
                    <a:moveTo>
                      <a:pt x="133" y="304"/>
                    </a:moveTo>
                    <a:cubicBezTo>
                      <a:pt x="133" y="391"/>
                      <a:pt x="198" y="454"/>
                      <a:pt x="292" y="454"/>
                    </a:cubicBezTo>
                    <a:cubicBezTo>
                      <a:pt x="381" y="454"/>
                      <a:pt x="451" y="387"/>
                      <a:pt x="451" y="302"/>
                    </a:cubicBezTo>
                    <a:cubicBezTo>
                      <a:pt x="451" y="216"/>
                      <a:pt x="383" y="153"/>
                      <a:pt x="292" y="153"/>
                    </a:cubicBezTo>
                    <a:cubicBezTo>
                      <a:pt x="203" y="153"/>
                      <a:pt x="133" y="219"/>
                      <a:pt x="133" y="3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34">
                <a:extLst>
                  <a:ext uri="{FF2B5EF4-FFF2-40B4-BE49-F238E27FC236}">
                    <a16:creationId xmlns:a16="http://schemas.microsoft.com/office/drawing/2014/main" id="{93DF03F5-A85B-C364-024C-8BB97454FB21}"/>
                  </a:ext>
                </a:extLst>
              </p:cNvPr>
              <p:cNvSpPr>
                <a:spLocks noEditPoints="1"/>
              </p:cNvSpPr>
              <p:nvPr userDrawn="1"/>
            </p:nvSpPr>
            <p:spPr bwMode="auto">
              <a:xfrm>
                <a:off x="7383556" y="1021017"/>
                <a:ext cx="253999" cy="263752"/>
              </a:xfrm>
              <a:custGeom>
                <a:avLst/>
                <a:gdLst>
                  <a:gd name="T0" fmla="*/ 584 w 584"/>
                  <a:gd name="T1" fmla="*/ 305 h 607"/>
                  <a:gd name="T2" fmla="*/ 292 w 584"/>
                  <a:gd name="T3" fmla="*/ 607 h 607"/>
                  <a:gd name="T4" fmla="*/ 0 w 584"/>
                  <a:gd name="T5" fmla="*/ 303 h 607"/>
                  <a:gd name="T6" fmla="*/ 292 w 584"/>
                  <a:gd name="T7" fmla="*/ 0 h 607"/>
                  <a:gd name="T8" fmla="*/ 584 w 584"/>
                  <a:gd name="T9" fmla="*/ 305 h 607"/>
                  <a:gd name="T10" fmla="*/ 133 w 584"/>
                  <a:gd name="T11" fmla="*/ 305 h 607"/>
                  <a:gd name="T12" fmla="*/ 292 w 584"/>
                  <a:gd name="T13" fmla="*/ 454 h 607"/>
                  <a:gd name="T14" fmla="*/ 451 w 584"/>
                  <a:gd name="T15" fmla="*/ 303 h 607"/>
                  <a:gd name="T16" fmla="*/ 292 w 584"/>
                  <a:gd name="T17" fmla="*/ 153 h 607"/>
                  <a:gd name="T18" fmla="*/ 133 w 584"/>
                  <a:gd name="T19" fmla="*/ 3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5"/>
                    </a:moveTo>
                    <a:cubicBezTo>
                      <a:pt x="584" y="474"/>
                      <a:pt x="457" y="607"/>
                      <a:pt x="292" y="607"/>
                    </a:cubicBezTo>
                    <a:cubicBezTo>
                      <a:pt x="128" y="607"/>
                      <a:pt x="0" y="474"/>
                      <a:pt x="0" y="303"/>
                    </a:cubicBezTo>
                    <a:cubicBezTo>
                      <a:pt x="0" y="133"/>
                      <a:pt x="126" y="0"/>
                      <a:pt x="292" y="0"/>
                    </a:cubicBezTo>
                    <a:cubicBezTo>
                      <a:pt x="455" y="0"/>
                      <a:pt x="584" y="134"/>
                      <a:pt x="584" y="305"/>
                    </a:cubicBezTo>
                    <a:moveTo>
                      <a:pt x="133" y="305"/>
                    </a:moveTo>
                    <a:cubicBezTo>
                      <a:pt x="133" y="391"/>
                      <a:pt x="198" y="454"/>
                      <a:pt x="292" y="454"/>
                    </a:cubicBezTo>
                    <a:cubicBezTo>
                      <a:pt x="381" y="454"/>
                      <a:pt x="451" y="388"/>
                      <a:pt x="451" y="303"/>
                    </a:cubicBezTo>
                    <a:cubicBezTo>
                      <a:pt x="451" y="216"/>
                      <a:pt x="383" y="153"/>
                      <a:pt x="292" y="153"/>
                    </a:cubicBezTo>
                    <a:cubicBezTo>
                      <a:pt x="203" y="153"/>
                      <a:pt x="133" y="220"/>
                      <a:pt x="133" y="3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Tree>
    <p:extLst>
      <p:ext uri="{BB962C8B-B14F-4D97-AF65-F5344CB8AC3E}">
        <p14:creationId xmlns:p14="http://schemas.microsoft.com/office/powerpoint/2010/main" val="655022253"/>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losing Slide_Black">
    <p:bg>
      <p:bgPr>
        <a:solidFill>
          <a:srgbClr val="1E0113"/>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7F7FEAA-CD25-31FD-0E8A-E47145F5F9EB}"/>
              </a:ext>
            </a:extLst>
          </p:cNvPr>
          <p:cNvGrpSpPr/>
          <p:nvPr userDrawn="1"/>
        </p:nvGrpSpPr>
        <p:grpSpPr>
          <a:xfrm>
            <a:off x="9392771" y="767096"/>
            <a:ext cx="2800816" cy="1898696"/>
            <a:chOff x="9390324" y="767096"/>
            <a:chExt cx="2800087" cy="1898696"/>
          </a:xfrm>
        </p:grpSpPr>
        <p:grpSp>
          <p:nvGrpSpPr>
            <p:cNvPr id="63" name="Group 62">
              <a:extLst>
                <a:ext uri="{FF2B5EF4-FFF2-40B4-BE49-F238E27FC236}">
                  <a16:creationId xmlns:a16="http://schemas.microsoft.com/office/drawing/2014/main" id="{DBC4C027-8FC0-71EF-963F-3B8A0447C1E8}"/>
                </a:ext>
              </a:extLst>
            </p:cNvPr>
            <p:cNvGrpSpPr/>
            <p:nvPr userDrawn="1"/>
          </p:nvGrpSpPr>
          <p:grpSpPr>
            <a:xfrm>
              <a:off x="9390324" y="936748"/>
              <a:ext cx="1965963" cy="1042086"/>
              <a:chOff x="4988072" y="501936"/>
              <a:chExt cx="1978802" cy="1051017"/>
            </a:xfrm>
            <a:solidFill>
              <a:schemeClr val="bg1"/>
            </a:solidFill>
          </p:grpSpPr>
          <p:sp>
            <p:nvSpPr>
              <p:cNvPr id="72" name="Freeform 5">
                <a:extLst>
                  <a:ext uri="{FF2B5EF4-FFF2-40B4-BE49-F238E27FC236}">
                    <a16:creationId xmlns:a16="http://schemas.microsoft.com/office/drawing/2014/main" id="{AC114BA7-B808-0C61-F4C4-498846EB2C1F}"/>
                  </a:ext>
                </a:extLst>
              </p:cNvPr>
              <p:cNvSpPr>
                <a:spLocks/>
              </p:cNvSpPr>
              <p:nvPr userDrawn="1"/>
            </p:nvSpPr>
            <p:spPr bwMode="auto">
              <a:xfrm>
                <a:off x="5559016" y="501936"/>
                <a:ext cx="218094" cy="282813"/>
              </a:xfrm>
              <a:custGeom>
                <a:avLst/>
                <a:gdLst>
                  <a:gd name="T0" fmla="*/ 0 w 502"/>
                  <a:gd name="T1" fmla="*/ 550 h 651"/>
                  <a:gd name="T2" fmla="*/ 83 w 502"/>
                  <a:gd name="T3" fmla="*/ 451 h 651"/>
                  <a:gd name="T4" fmla="*/ 272 w 502"/>
                  <a:gd name="T5" fmla="*/ 528 h 651"/>
                  <a:gd name="T6" fmla="*/ 363 w 502"/>
                  <a:gd name="T7" fmla="*/ 469 h 651"/>
                  <a:gd name="T8" fmla="*/ 363 w 502"/>
                  <a:gd name="T9" fmla="*/ 467 h 651"/>
                  <a:gd name="T10" fmla="*/ 236 w 502"/>
                  <a:gd name="T11" fmla="*/ 386 h 651"/>
                  <a:gd name="T12" fmla="*/ 26 w 502"/>
                  <a:gd name="T13" fmla="*/ 192 h 651"/>
                  <a:gd name="T14" fmla="*/ 26 w 502"/>
                  <a:gd name="T15" fmla="*/ 191 h 651"/>
                  <a:gd name="T16" fmla="*/ 247 w 502"/>
                  <a:gd name="T17" fmla="*/ 0 h 651"/>
                  <a:gd name="T18" fmla="*/ 483 w 502"/>
                  <a:gd name="T19" fmla="*/ 80 h 651"/>
                  <a:gd name="T20" fmla="*/ 410 w 502"/>
                  <a:gd name="T21" fmla="*/ 185 h 651"/>
                  <a:gd name="T22" fmla="*/ 246 w 502"/>
                  <a:gd name="T23" fmla="*/ 123 h 651"/>
                  <a:gd name="T24" fmla="*/ 164 w 502"/>
                  <a:gd name="T25" fmla="*/ 178 h 651"/>
                  <a:gd name="T26" fmla="*/ 164 w 502"/>
                  <a:gd name="T27" fmla="*/ 180 h 651"/>
                  <a:gd name="T28" fmla="*/ 301 w 502"/>
                  <a:gd name="T29" fmla="*/ 263 h 651"/>
                  <a:gd name="T30" fmla="*/ 502 w 502"/>
                  <a:gd name="T31" fmla="*/ 453 h 651"/>
                  <a:gd name="T32" fmla="*/ 502 w 502"/>
                  <a:gd name="T33" fmla="*/ 455 h 651"/>
                  <a:gd name="T34" fmla="*/ 269 w 502"/>
                  <a:gd name="T35" fmla="*/ 651 h 651"/>
                  <a:gd name="T36" fmla="*/ 0 w 502"/>
                  <a:gd name="T37" fmla="*/ 5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651">
                    <a:moveTo>
                      <a:pt x="0" y="550"/>
                    </a:moveTo>
                    <a:cubicBezTo>
                      <a:pt x="83" y="451"/>
                      <a:pt x="83" y="451"/>
                      <a:pt x="83" y="451"/>
                    </a:cubicBezTo>
                    <a:cubicBezTo>
                      <a:pt x="140" y="498"/>
                      <a:pt x="200" y="528"/>
                      <a:pt x="272" y="528"/>
                    </a:cubicBezTo>
                    <a:cubicBezTo>
                      <a:pt x="329" y="528"/>
                      <a:pt x="363" y="506"/>
                      <a:pt x="363" y="469"/>
                    </a:cubicBezTo>
                    <a:cubicBezTo>
                      <a:pt x="363" y="467"/>
                      <a:pt x="363" y="467"/>
                      <a:pt x="363" y="467"/>
                    </a:cubicBezTo>
                    <a:cubicBezTo>
                      <a:pt x="363" y="431"/>
                      <a:pt x="342" y="413"/>
                      <a:pt x="236" y="386"/>
                    </a:cubicBezTo>
                    <a:cubicBezTo>
                      <a:pt x="108" y="354"/>
                      <a:pt x="26" y="318"/>
                      <a:pt x="26" y="192"/>
                    </a:cubicBezTo>
                    <a:cubicBezTo>
                      <a:pt x="26" y="191"/>
                      <a:pt x="26" y="191"/>
                      <a:pt x="26" y="191"/>
                    </a:cubicBezTo>
                    <a:cubicBezTo>
                      <a:pt x="26" y="76"/>
                      <a:pt x="118" y="0"/>
                      <a:pt x="247" y="0"/>
                    </a:cubicBezTo>
                    <a:cubicBezTo>
                      <a:pt x="340" y="0"/>
                      <a:pt x="419" y="29"/>
                      <a:pt x="483" y="80"/>
                    </a:cubicBezTo>
                    <a:cubicBezTo>
                      <a:pt x="410" y="185"/>
                      <a:pt x="410" y="185"/>
                      <a:pt x="410" y="185"/>
                    </a:cubicBezTo>
                    <a:cubicBezTo>
                      <a:pt x="354" y="146"/>
                      <a:pt x="299" y="123"/>
                      <a:pt x="246" y="123"/>
                    </a:cubicBezTo>
                    <a:cubicBezTo>
                      <a:pt x="192" y="123"/>
                      <a:pt x="164" y="147"/>
                      <a:pt x="164" y="178"/>
                    </a:cubicBezTo>
                    <a:cubicBezTo>
                      <a:pt x="164" y="180"/>
                      <a:pt x="164" y="180"/>
                      <a:pt x="164" y="180"/>
                    </a:cubicBezTo>
                    <a:cubicBezTo>
                      <a:pt x="164" y="221"/>
                      <a:pt x="191" y="235"/>
                      <a:pt x="301" y="263"/>
                    </a:cubicBezTo>
                    <a:cubicBezTo>
                      <a:pt x="429" y="297"/>
                      <a:pt x="502" y="343"/>
                      <a:pt x="502" y="453"/>
                    </a:cubicBezTo>
                    <a:cubicBezTo>
                      <a:pt x="502" y="455"/>
                      <a:pt x="502" y="455"/>
                      <a:pt x="502" y="455"/>
                    </a:cubicBezTo>
                    <a:cubicBezTo>
                      <a:pt x="502" y="581"/>
                      <a:pt x="406" y="651"/>
                      <a:pt x="269" y="651"/>
                    </a:cubicBezTo>
                    <a:cubicBezTo>
                      <a:pt x="173" y="651"/>
                      <a:pt x="76" y="618"/>
                      <a:pt x="0"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6">
                <a:extLst>
                  <a:ext uri="{FF2B5EF4-FFF2-40B4-BE49-F238E27FC236}">
                    <a16:creationId xmlns:a16="http://schemas.microsoft.com/office/drawing/2014/main" id="{03055FF5-EB33-F09D-784D-C7AD01880326}"/>
                  </a:ext>
                </a:extLst>
              </p:cNvPr>
              <p:cNvSpPr>
                <a:spLocks/>
              </p:cNvSpPr>
              <p:nvPr userDrawn="1"/>
            </p:nvSpPr>
            <p:spPr bwMode="auto">
              <a:xfrm>
                <a:off x="5791295" y="566212"/>
                <a:ext cx="322264" cy="214547"/>
              </a:xfrm>
              <a:custGeom>
                <a:avLst/>
                <a:gdLst>
                  <a:gd name="T0" fmla="*/ 0 w 741"/>
                  <a:gd name="T1" fmla="*/ 9 h 494"/>
                  <a:gd name="T2" fmla="*/ 138 w 741"/>
                  <a:gd name="T3" fmla="*/ 9 h 494"/>
                  <a:gd name="T4" fmla="*/ 138 w 741"/>
                  <a:gd name="T5" fmla="*/ 78 h 494"/>
                  <a:gd name="T6" fmla="*/ 281 w 741"/>
                  <a:gd name="T7" fmla="*/ 0 h 494"/>
                  <a:gd name="T8" fmla="*/ 418 w 741"/>
                  <a:gd name="T9" fmla="*/ 77 h 494"/>
                  <a:gd name="T10" fmla="*/ 577 w 741"/>
                  <a:gd name="T11" fmla="*/ 0 h 494"/>
                  <a:gd name="T12" fmla="*/ 741 w 741"/>
                  <a:gd name="T13" fmla="*/ 178 h 494"/>
                  <a:gd name="T14" fmla="*/ 741 w 741"/>
                  <a:gd name="T15" fmla="*/ 494 h 494"/>
                  <a:gd name="T16" fmla="*/ 603 w 741"/>
                  <a:gd name="T17" fmla="*/ 494 h 494"/>
                  <a:gd name="T18" fmla="*/ 603 w 741"/>
                  <a:gd name="T19" fmla="*/ 224 h 494"/>
                  <a:gd name="T20" fmla="*/ 523 w 741"/>
                  <a:gd name="T21" fmla="*/ 125 h 494"/>
                  <a:gd name="T22" fmla="*/ 439 w 741"/>
                  <a:gd name="T23" fmla="*/ 224 h 494"/>
                  <a:gd name="T24" fmla="*/ 439 w 741"/>
                  <a:gd name="T25" fmla="*/ 494 h 494"/>
                  <a:gd name="T26" fmla="*/ 302 w 741"/>
                  <a:gd name="T27" fmla="*/ 494 h 494"/>
                  <a:gd name="T28" fmla="*/ 302 w 741"/>
                  <a:gd name="T29" fmla="*/ 224 h 494"/>
                  <a:gd name="T30" fmla="*/ 221 w 741"/>
                  <a:gd name="T31" fmla="*/ 125 h 494"/>
                  <a:gd name="T32" fmla="*/ 138 w 741"/>
                  <a:gd name="T33" fmla="*/ 224 h 494"/>
                  <a:gd name="T34" fmla="*/ 138 w 741"/>
                  <a:gd name="T35" fmla="*/ 494 h 494"/>
                  <a:gd name="T36" fmla="*/ 0 w 741"/>
                  <a:gd name="T37" fmla="*/ 494 h 494"/>
                  <a:gd name="T38" fmla="*/ 0 w 741"/>
                  <a:gd name="T39"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1" h="494">
                    <a:moveTo>
                      <a:pt x="0" y="9"/>
                    </a:moveTo>
                    <a:cubicBezTo>
                      <a:pt x="138" y="9"/>
                      <a:pt x="138" y="9"/>
                      <a:pt x="138" y="9"/>
                    </a:cubicBezTo>
                    <a:cubicBezTo>
                      <a:pt x="138" y="78"/>
                      <a:pt x="138" y="78"/>
                      <a:pt x="138" y="78"/>
                    </a:cubicBezTo>
                    <a:cubicBezTo>
                      <a:pt x="170" y="37"/>
                      <a:pt x="211" y="0"/>
                      <a:pt x="281" y="0"/>
                    </a:cubicBezTo>
                    <a:cubicBezTo>
                      <a:pt x="344" y="0"/>
                      <a:pt x="392" y="28"/>
                      <a:pt x="418" y="77"/>
                    </a:cubicBezTo>
                    <a:cubicBezTo>
                      <a:pt x="460" y="27"/>
                      <a:pt x="511" y="0"/>
                      <a:pt x="577" y="0"/>
                    </a:cubicBezTo>
                    <a:cubicBezTo>
                      <a:pt x="679" y="0"/>
                      <a:pt x="741" y="62"/>
                      <a:pt x="741" y="178"/>
                    </a:cubicBezTo>
                    <a:cubicBezTo>
                      <a:pt x="741" y="494"/>
                      <a:pt x="741" y="494"/>
                      <a:pt x="741" y="494"/>
                    </a:cubicBezTo>
                    <a:cubicBezTo>
                      <a:pt x="603" y="494"/>
                      <a:pt x="603" y="494"/>
                      <a:pt x="603" y="494"/>
                    </a:cubicBezTo>
                    <a:cubicBezTo>
                      <a:pt x="603" y="224"/>
                      <a:pt x="603" y="224"/>
                      <a:pt x="603" y="224"/>
                    </a:cubicBezTo>
                    <a:cubicBezTo>
                      <a:pt x="603" y="159"/>
                      <a:pt x="574" y="125"/>
                      <a:pt x="523" y="125"/>
                    </a:cubicBezTo>
                    <a:cubicBezTo>
                      <a:pt x="471" y="125"/>
                      <a:pt x="439" y="159"/>
                      <a:pt x="439" y="224"/>
                    </a:cubicBezTo>
                    <a:cubicBezTo>
                      <a:pt x="439" y="494"/>
                      <a:pt x="439" y="494"/>
                      <a:pt x="439" y="494"/>
                    </a:cubicBezTo>
                    <a:cubicBezTo>
                      <a:pt x="302" y="494"/>
                      <a:pt x="302" y="494"/>
                      <a:pt x="302" y="494"/>
                    </a:cubicBezTo>
                    <a:cubicBezTo>
                      <a:pt x="302" y="224"/>
                      <a:pt x="302" y="224"/>
                      <a:pt x="302" y="224"/>
                    </a:cubicBezTo>
                    <a:cubicBezTo>
                      <a:pt x="302" y="159"/>
                      <a:pt x="273" y="125"/>
                      <a:pt x="221" y="125"/>
                    </a:cubicBezTo>
                    <a:cubicBezTo>
                      <a:pt x="170" y="125"/>
                      <a:pt x="138" y="159"/>
                      <a:pt x="138" y="224"/>
                    </a:cubicBezTo>
                    <a:cubicBezTo>
                      <a:pt x="138" y="494"/>
                      <a:pt x="138" y="494"/>
                      <a:pt x="138"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7">
                <a:extLst>
                  <a:ext uri="{FF2B5EF4-FFF2-40B4-BE49-F238E27FC236}">
                    <a16:creationId xmlns:a16="http://schemas.microsoft.com/office/drawing/2014/main" id="{EF0C28DE-3EA0-613C-F6F5-A668E5A933D2}"/>
                  </a:ext>
                </a:extLst>
              </p:cNvPr>
              <p:cNvSpPr>
                <a:spLocks noEditPoints="1"/>
              </p:cNvSpPr>
              <p:nvPr userDrawn="1"/>
            </p:nvSpPr>
            <p:spPr bwMode="auto">
              <a:xfrm>
                <a:off x="6125971" y="567985"/>
                <a:ext cx="193713" cy="216764"/>
              </a:xfrm>
              <a:custGeom>
                <a:avLst/>
                <a:gdLst>
                  <a:gd name="T0" fmla="*/ 0 w 446"/>
                  <a:gd name="T1" fmla="*/ 351 h 499"/>
                  <a:gd name="T2" fmla="*/ 0 w 446"/>
                  <a:gd name="T3" fmla="*/ 349 h 499"/>
                  <a:gd name="T4" fmla="*/ 195 w 446"/>
                  <a:gd name="T5" fmla="*/ 194 h 499"/>
                  <a:gd name="T6" fmla="*/ 314 w 446"/>
                  <a:gd name="T7" fmla="*/ 214 h 499"/>
                  <a:gd name="T8" fmla="*/ 314 w 446"/>
                  <a:gd name="T9" fmla="*/ 206 h 499"/>
                  <a:gd name="T10" fmla="*/ 210 w 446"/>
                  <a:gd name="T11" fmla="*/ 117 h 499"/>
                  <a:gd name="T12" fmla="*/ 76 w 446"/>
                  <a:gd name="T13" fmla="*/ 144 h 499"/>
                  <a:gd name="T14" fmla="*/ 42 w 446"/>
                  <a:gd name="T15" fmla="*/ 39 h 499"/>
                  <a:gd name="T16" fmla="*/ 230 w 446"/>
                  <a:gd name="T17" fmla="*/ 0 h 499"/>
                  <a:gd name="T18" fmla="*/ 394 w 446"/>
                  <a:gd name="T19" fmla="*/ 54 h 499"/>
                  <a:gd name="T20" fmla="*/ 446 w 446"/>
                  <a:gd name="T21" fmla="*/ 209 h 499"/>
                  <a:gd name="T22" fmla="*/ 446 w 446"/>
                  <a:gd name="T23" fmla="*/ 490 h 499"/>
                  <a:gd name="T24" fmla="*/ 313 w 446"/>
                  <a:gd name="T25" fmla="*/ 490 h 499"/>
                  <a:gd name="T26" fmla="*/ 313 w 446"/>
                  <a:gd name="T27" fmla="*/ 438 h 499"/>
                  <a:gd name="T28" fmla="*/ 166 w 446"/>
                  <a:gd name="T29" fmla="*/ 499 h 499"/>
                  <a:gd name="T30" fmla="*/ 0 w 446"/>
                  <a:gd name="T31" fmla="*/ 351 h 499"/>
                  <a:gd name="T32" fmla="*/ 316 w 446"/>
                  <a:gd name="T33" fmla="*/ 319 h 499"/>
                  <a:gd name="T34" fmla="*/ 316 w 446"/>
                  <a:gd name="T35" fmla="*/ 295 h 499"/>
                  <a:gd name="T36" fmla="*/ 228 w 446"/>
                  <a:gd name="T37" fmla="*/ 277 h 499"/>
                  <a:gd name="T38" fmla="*/ 133 w 446"/>
                  <a:gd name="T39" fmla="*/ 344 h 499"/>
                  <a:gd name="T40" fmla="*/ 133 w 446"/>
                  <a:gd name="T41" fmla="*/ 346 h 499"/>
                  <a:gd name="T42" fmla="*/ 208 w 446"/>
                  <a:gd name="T43" fmla="*/ 404 h 499"/>
                  <a:gd name="T44" fmla="*/ 316 w 446"/>
                  <a:gd name="T45" fmla="*/ 31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499">
                    <a:moveTo>
                      <a:pt x="0" y="351"/>
                    </a:moveTo>
                    <a:cubicBezTo>
                      <a:pt x="0" y="349"/>
                      <a:pt x="0" y="349"/>
                      <a:pt x="0" y="349"/>
                    </a:cubicBezTo>
                    <a:cubicBezTo>
                      <a:pt x="0" y="243"/>
                      <a:pt x="80" y="194"/>
                      <a:pt x="195" y="194"/>
                    </a:cubicBezTo>
                    <a:cubicBezTo>
                      <a:pt x="244" y="194"/>
                      <a:pt x="280" y="202"/>
                      <a:pt x="314" y="214"/>
                    </a:cubicBezTo>
                    <a:cubicBezTo>
                      <a:pt x="314" y="206"/>
                      <a:pt x="314" y="206"/>
                      <a:pt x="314" y="206"/>
                    </a:cubicBezTo>
                    <a:cubicBezTo>
                      <a:pt x="314" y="149"/>
                      <a:pt x="279" y="117"/>
                      <a:pt x="210" y="117"/>
                    </a:cubicBezTo>
                    <a:cubicBezTo>
                      <a:pt x="157" y="117"/>
                      <a:pt x="120" y="127"/>
                      <a:pt x="76" y="144"/>
                    </a:cubicBezTo>
                    <a:cubicBezTo>
                      <a:pt x="42" y="39"/>
                      <a:pt x="42" y="39"/>
                      <a:pt x="42" y="39"/>
                    </a:cubicBezTo>
                    <a:cubicBezTo>
                      <a:pt x="95" y="15"/>
                      <a:pt x="147" y="0"/>
                      <a:pt x="230" y="0"/>
                    </a:cubicBezTo>
                    <a:cubicBezTo>
                      <a:pt x="305" y="0"/>
                      <a:pt x="359" y="20"/>
                      <a:pt x="394" y="54"/>
                    </a:cubicBezTo>
                    <a:cubicBezTo>
                      <a:pt x="430" y="90"/>
                      <a:pt x="446" y="144"/>
                      <a:pt x="446" y="209"/>
                    </a:cubicBezTo>
                    <a:cubicBezTo>
                      <a:pt x="446" y="490"/>
                      <a:pt x="446" y="490"/>
                      <a:pt x="446" y="490"/>
                    </a:cubicBezTo>
                    <a:cubicBezTo>
                      <a:pt x="313" y="490"/>
                      <a:pt x="313" y="490"/>
                      <a:pt x="313" y="490"/>
                    </a:cubicBezTo>
                    <a:cubicBezTo>
                      <a:pt x="313" y="438"/>
                      <a:pt x="313" y="438"/>
                      <a:pt x="313" y="438"/>
                    </a:cubicBezTo>
                    <a:cubicBezTo>
                      <a:pt x="280" y="475"/>
                      <a:pt x="233" y="499"/>
                      <a:pt x="166" y="499"/>
                    </a:cubicBezTo>
                    <a:cubicBezTo>
                      <a:pt x="75" y="499"/>
                      <a:pt x="0" y="447"/>
                      <a:pt x="0" y="351"/>
                    </a:cubicBezTo>
                    <a:close/>
                    <a:moveTo>
                      <a:pt x="316" y="319"/>
                    </a:moveTo>
                    <a:cubicBezTo>
                      <a:pt x="316" y="295"/>
                      <a:pt x="316" y="295"/>
                      <a:pt x="316" y="295"/>
                    </a:cubicBezTo>
                    <a:cubicBezTo>
                      <a:pt x="292" y="284"/>
                      <a:pt x="262" y="277"/>
                      <a:pt x="228" y="277"/>
                    </a:cubicBezTo>
                    <a:cubicBezTo>
                      <a:pt x="169" y="277"/>
                      <a:pt x="133" y="300"/>
                      <a:pt x="133" y="344"/>
                    </a:cubicBezTo>
                    <a:cubicBezTo>
                      <a:pt x="133" y="346"/>
                      <a:pt x="133" y="346"/>
                      <a:pt x="133" y="346"/>
                    </a:cubicBezTo>
                    <a:cubicBezTo>
                      <a:pt x="133" y="383"/>
                      <a:pt x="164" y="404"/>
                      <a:pt x="208" y="404"/>
                    </a:cubicBezTo>
                    <a:cubicBezTo>
                      <a:pt x="272" y="404"/>
                      <a:pt x="316" y="369"/>
                      <a:pt x="31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8">
                <a:extLst>
                  <a:ext uri="{FF2B5EF4-FFF2-40B4-BE49-F238E27FC236}">
                    <a16:creationId xmlns:a16="http://schemas.microsoft.com/office/drawing/2014/main" id="{AA3A9144-5E21-1340-D82E-781E8E03088B}"/>
                  </a:ext>
                </a:extLst>
              </p:cNvPr>
              <p:cNvSpPr>
                <a:spLocks/>
              </p:cNvSpPr>
              <p:nvPr userDrawn="1"/>
            </p:nvSpPr>
            <p:spPr bwMode="auto">
              <a:xfrm>
                <a:off x="6336529" y="564438"/>
                <a:ext cx="127665"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Freeform 9">
                <a:extLst>
                  <a:ext uri="{FF2B5EF4-FFF2-40B4-BE49-F238E27FC236}">
                    <a16:creationId xmlns:a16="http://schemas.microsoft.com/office/drawing/2014/main" id="{16E502AF-0487-43AF-00DB-14F962B92CFF}"/>
                  </a:ext>
                </a:extLst>
              </p:cNvPr>
              <p:cNvSpPr>
                <a:spLocks/>
              </p:cNvSpPr>
              <p:nvPr userDrawn="1"/>
            </p:nvSpPr>
            <p:spPr bwMode="auto">
              <a:xfrm>
                <a:off x="6475719" y="516121"/>
                <a:ext cx="134757" cy="268184"/>
              </a:xfrm>
              <a:custGeom>
                <a:avLst/>
                <a:gdLst>
                  <a:gd name="T0" fmla="*/ 58 w 310"/>
                  <a:gd name="T1" fmla="*/ 472 h 617"/>
                  <a:gd name="T2" fmla="*/ 58 w 310"/>
                  <a:gd name="T3" fmla="*/ 242 h 617"/>
                  <a:gd name="T4" fmla="*/ 0 w 310"/>
                  <a:gd name="T5" fmla="*/ 242 h 617"/>
                  <a:gd name="T6" fmla="*/ 0 w 310"/>
                  <a:gd name="T7" fmla="*/ 124 h 617"/>
                  <a:gd name="T8" fmla="*/ 58 w 310"/>
                  <a:gd name="T9" fmla="*/ 124 h 617"/>
                  <a:gd name="T10" fmla="*/ 58 w 310"/>
                  <a:gd name="T11" fmla="*/ 0 h 617"/>
                  <a:gd name="T12" fmla="*/ 196 w 310"/>
                  <a:gd name="T13" fmla="*/ 0 h 617"/>
                  <a:gd name="T14" fmla="*/ 196 w 310"/>
                  <a:gd name="T15" fmla="*/ 124 h 617"/>
                  <a:gd name="T16" fmla="*/ 310 w 310"/>
                  <a:gd name="T17" fmla="*/ 124 h 617"/>
                  <a:gd name="T18" fmla="*/ 310 w 310"/>
                  <a:gd name="T19" fmla="*/ 242 h 617"/>
                  <a:gd name="T20" fmla="*/ 196 w 310"/>
                  <a:gd name="T21" fmla="*/ 242 h 617"/>
                  <a:gd name="T22" fmla="*/ 196 w 310"/>
                  <a:gd name="T23" fmla="*/ 449 h 617"/>
                  <a:gd name="T24" fmla="*/ 240 w 310"/>
                  <a:gd name="T25" fmla="*/ 496 h 617"/>
                  <a:gd name="T26" fmla="*/ 308 w 310"/>
                  <a:gd name="T27" fmla="*/ 479 h 617"/>
                  <a:gd name="T28" fmla="*/ 308 w 310"/>
                  <a:gd name="T29" fmla="*/ 589 h 617"/>
                  <a:gd name="T30" fmla="*/ 199 w 310"/>
                  <a:gd name="T31" fmla="*/ 617 h 617"/>
                  <a:gd name="T32" fmla="*/ 58 w 310"/>
                  <a:gd name="T33" fmla="*/ 4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7">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6" y="0"/>
                      <a:pt x="196" y="0"/>
                      <a:pt x="196" y="0"/>
                    </a:cubicBezTo>
                    <a:cubicBezTo>
                      <a:pt x="196" y="124"/>
                      <a:pt x="196" y="124"/>
                      <a:pt x="196" y="124"/>
                    </a:cubicBezTo>
                    <a:cubicBezTo>
                      <a:pt x="310" y="124"/>
                      <a:pt x="310" y="124"/>
                      <a:pt x="310" y="124"/>
                    </a:cubicBezTo>
                    <a:cubicBezTo>
                      <a:pt x="310" y="242"/>
                      <a:pt x="310" y="242"/>
                      <a:pt x="310" y="242"/>
                    </a:cubicBezTo>
                    <a:cubicBezTo>
                      <a:pt x="196" y="242"/>
                      <a:pt x="196" y="242"/>
                      <a:pt x="196" y="242"/>
                    </a:cubicBezTo>
                    <a:cubicBezTo>
                      <a:pt x="196" y="449"/>
                      <a:pt x="196" y="449"/>
                      <a:pt x="196" y="449"/>
                    </a:cubicBezTo>
                    <a:cubicBezTo>
                      <a:pt x="196" y="481"/>
                      <a:pt x="209" y="496"/>
                      <a:pt x="240" y="496"/>
                    </a:cubicBezTo>
                    <a:cubicBezTo>
                      <a:pt x="265" y="496"/>
                      <a:pt x="288" y="490"/>
                      <a:pt x="308" y="479"/>
                    </a:cubicBezTo>
                    <a:cubicBezTo>
                      <a:pt x="308" y="589"/>
                      <a:pt x="308" y="589"/>
                      <a:pt x="308" y="589"/>
                    </a:cubicBezTo>
                    <a:cubicBezTo>
                      <a:pt x="279" y="607"/>
                      <a:pt x="245" y="617"/>
                      <a:pt x="199" y="617"/>
                    </a:cubicBezTo>
                    <a:cubicBezTo>
                      <a:pt x="115" y="617"/>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10">
                <a:extLst>
                  <a:ext uri="{FF2B5EF4-FFF2-40B4-BE49-F238E27FC236}">
                    <a16:creationId xmlns:a16="http://schemas.microsoft.com/office/drawing/2014/main" id="{0DE8FD0D-C28A-B61F-DFEE-6F90FAD7BFAA}"/>
                  </a:ext>
                </a:extLst>
              </p:cNvPr>
              <p:cNvSpPr>
                <a:spLocks noEditPoints="1"/>
              </p:cNvSpPr>
              <p:nvPr userDrawn="1"/>
            </p:nvSpPr>
            <p:spPr bwMode="auto">
              <a:xfrm>
                <a:off x="6618455" y="566212"/>
                <a:ext cx="207012" cy="219424"/>
              </a:xfrm>
              <a:custGeom>
                <a:avLst/>
                <a:gdLst>
                  <a:gd name="T0" fmla="*/ 0 w 476"/>
                  <a:gd name="T1" fmla="*/ 254 h 505"/>
                  <a:gd name="T2" fmla="*/ 0 w 476"/>
                  <a:gd name="T3" fmla="*/ 253 h 505"/>
                  <a:gd name="T4" fmla="*/ 240 w 476"/>
                  <a:gd name="T5" fmla="*/ 0 h 505"/>
                  <a:gd name="T6" fmla="*/ 476 w 476"/>
                  <a:gd name="T7" fmla="*/ 263 h 505"/>
                  <a:gd name="T8" fmla="*/ 475 w 476"/>
                  <a:gd name="T9" fmla="*/ 300 h 505"/>
                  <a:gd name="T10" fmla="*/ 137 w 476"/>
                  <a:gd name="T11" fmla="*/ 300 h 505"/>
                  <a:gd name="T12" fmla="*/ 256 w 476"/>
                  <a:gd name="T13" fmla="*/ 395 h 505"/>
                  <a:gd name="T14" fmla="*/ 373 w 476"/>
                  <a:gd name="T15" fmla="*/ 345 h 505"/>
                  <a:gd name="T16" fmla="*/ 452 w 476"/>
                  <a:gd name="T17" fmla="*/ 415 h 505"/>
                  <a:gd name="T18" fmla="*/ 254 w 476"/>
                  <a:gd name="T19" fmla="*/ 505 h 505"/>
                  <a:gd name="T20" fmla="*/ 0 w 476"/>
                  <a:gd name="T21" fmla="*/ 254 h 505"/>
                  <a:gd name="T22" fmla="*/ 342 w 476"/>
                  <a:gd name="T23" fmla="*/ 214 h 505"/>
                  <a:gd name="T24" fmla="*/ 240 w 476"/>
                  <a:gd name="T25" fmla="*/ 111 h 505"/>
                  <a:gd name="T26" fmla="*/ 135 w 476"/>
                  <a:gd name="T27" fmla="*/ 214 h 505"/>
                  <a:gd name="T28" fmla="*/ 342 w 476"/>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05">
                    <a:moveTo>
                      <a:pt x="0" y="254"/>
                    </a:moveTo>
                    <a:cubicBezTo>
                      <a:pt x="0" y="253"/>
                      <a:pt x="0" y="253"/>
                      <a:pt x="0" y="253"/>
                    </a:cubicBezTo>
                    <a:cubicBezTo>
                      <a:pt x="0" y="114"/>
                      <a:pt x="99" y="0"/>
                      <a:pt x="240" y="0"/>
                    </a:cubicBezTo>
                    <a:cubicBezTo>
                      <a:pt x="402" y="0"/>
                      <a:pt x="476" y="126"/>
                      <a:pt x="476" y="263"/>
                    </a:cubicBezTo>
                    <a:cubicBezTo>
                      <a:pt x="476"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2" y="214"/>
                    </a:moveTo>
                    <a:cubicBezTo>
                      <a:pt x="334" y="152"/>
                      <a:pt x="298" y="111"/>
                      <a:pt x="240" y="111"/>
                    </a:cubicBezTo>
                    <a:cubicBezTo>
                      <a:pt x="183" y="111"/>
                      <a:pt x="146" y="151"/>
                      <a:pt x="135" y="214"/>
                    </a:cubicBezTo>
                    <a:lnTo>
                      <a:pt x="342"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11">
                <a:extLst>
                  <a:ext uri="{FF2B5EF4-FFF2-40B4-BE49-F238E27FC236}">
                    <a16:creationId xmlns:a16="http://schemas.microsoft.com/office/drawing/2014/main" id="{F351CFF9-9DD1-E9B5-EE76-334AE5F03491}"/>
                  </a:ext>
                </a:extLst>
              </p:cNvPr>
              <p:cNvSpPr>
                <a:spLocks/>
              </p:cNvSpPr>
              <p:nvPr userDrawn="1"/>
            </p:nvSpPr>
            <p:spPr bwMode="auto">
              <a:xfrm>
                <a:off x="6837879" y="564438"/>
                <a:ext cx="127221"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12">
                <a:extLst>
                  <a:ext uri="{FF2B5EF4-FFF2-40B4-BE49-F238E27FC236}">
                    <a16:creationId xmlns:a16="http://schemas.microsoft.com/office/drawing/2014/main" id="{5CBDFCA1-F27C-774F-EB38-070587A34AB2}"/>
                  </a:ext>
                </a:extLst>
              </p:cNvPr>
              <p:cNvSpPr>
                <a:spLocks/>
              </p:cNvSpPr>
              <p:nvPr userDrawn="1"/>
            </p:nvSpPr>
            <p:spPr bwMode="auto">
              <a:xfrm>
                <a:off x="4988072" y="888476"/>
                <a:ext cx="134757" cy="268628"/>
              </a:xfrm>
              <a:custGeom>
                <a:avLst/>
                <a:gdLst>
                  <a:gd name="T0" fmla="*/ 58 w 310"/>
                  <a:gd name="T1" fmla="*/ 472 h 618"/>
                  <a:gd name="T2" fmla="*/ 58 w 310"/>
                  <a:gd name="T3" fmla="*/ 242 h 618"/>
                  <a:gd name="T4" fmla="*/ 0 w 310"/>
                  <a:gd name="T5" fmla="*/ 242 h 618"/>
                  <a:gd name="T6" fmla="*/ 0 w 310"/>
                  <a:gd name="T7" fmla="*/ 124 h 618"/>
                  <a:gd name="T8" fmla="*/ 58 w 310"/>
                  <a:gd name="T9" fmla="*/ 124 h 618"/>
                  <a:gd name="T10" fmla="*/ 58 w 310"/>
                  <a:gd name="T11" fmla="*/ 0 h 618"/>
                  <a:gd name="T12" fmla="*/ 195 w 310"/>
                  <a:gd name="T13" fmla="*/ 0 h 618"/>
                  <a:gd name="T14" fmla="*/ 195 w 310"/>
                  <a:gd name="T15" fmla="*/ 124 h 618"/>
                  <a:gd name="T16" fmla="*/ 310 w 310"/>
                  <a:gd name="T17" fmla="*/ 124 h 618"/>
                  <a:gd name="T18" fmla="*/ 310 w 310"/>
                  <a:gd name="T19" fmla="*/ 242 h 618"/>
                  <a:gd name="T20" fmla="*/ 195 w 310"/>
                  <a:gd name="T21" fmla="*/ 242 h 618"/>
                  <a:gd name="T22" fmla="*/ 195 w 310"/>
                  <a:gd name="T23" fmla="*/ 449 h 618"/>
                  <a:gd name="T24" fmla="*/ 240 w 310"/>
                  <a:gd name="T25" fmla="*/ 496 h 618"/>
                  <a:gd name="T26" fmla="*/ 308 w 310"/>
                  <a:gd name="T27" fmla="*/ 479 h 618"/>
                  <a:gd name="T28" fmla="*/ 308 w 310"/>
                  <a:gd name="T29" fmla="*/ 590 h 618"/>
                  <a:gd name="T30" fmla="*/ 199 w 310"/>
                  <a:gd name="T31" fmla="*/ 618 h 618"/>
                  <a:gd name="T32" fmla="*/ 58 w 310"/>
                  <a:gd name="T33" fmla="*/ 47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8">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5" y="0"/>
                      <a:pt x="195" y="0"/>
                      <a:pt x="195" y="0"/>
                    </a:cubicBezTo>
                    <a:cubicBezTo>
                      <a:pt x="195" y="124"/>
                      <a:pt x="195" y="124"/>
                      <a:pt x="195" y="124"/>
                    </a:cubicBezTo>
                    <a:cubicBezTo>
                      <a:pt x="310" y="124"/>
                      <a:pt x="310" y="124"/>
                      <a:pt x="310" y="124"/>
                    </a:cubicBezTo>
                    <a:cubicBezTo>
                      <a:pt x="310" y="242"/>
                      <a:pt x="310" y="242"/>
                      <a:pt x="310" y="242"/>
                    </a:cubicBezTo>
                    <a:cubicBezTo>
                      <a:pt x="195" y="242"/>
                      <a:pt x="195" y="242"/>
                      <a:pt x="195" y="242"/>
                    </a:cubicBezTo>
                    <a:cubicBezTo>
                      <a:pt x="195" y="449"/>
                      <a:pt x="195" y="449"/>
                      <a:pt x="195" y="449"/>
                    </a:cubicBezTo>
                    <a:cubicBezTo>
                      <a:pt x="195" y="481"/>
                      <a:pt x="209" y="496"/>
                      <a:pt x="240" y="496"/>
                    </a:cubicBezTo>
                    <a:cubicBezTo>
                      <a:pt x="265" y="496"/>
                      <a:pt x="288" y="490"/>
                      <a:pt x="308" y="479"/>
                    </a:cubicBezTo>
                    <a:cubicBezTo>
                      <a:pt x="308" y="590"/>
                      <a:pt x="308" y="590"/>
                      <a:pt x="308" y="590"/>
                    </a:cubicBezTo>
                    <a:cubicBezTo>
                      <a:pt x="279" y="607"/>
                      <a:pt x="245" y="618"/>
                      <a:pt x="199" y="618"/>
                    </a:cubicBezTo>
                    <a:cubicBezTo>
                      <a:pt x="115" y="618"/>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13">
                <a:extLst>
                  <a:ext uri="{FF2B5EF4-FFF2-40B4-BE49-F238E27FC236}">
                    <a16:creationId xmlns:a16="http://schemas.microsoft.com/office/drawing/2014/main" id="{32C7C41D-9C2F-F9CB-F801-1289ECF5E586}"/>
                  </a:ext>
                </a:extLst>
              </p:cNvPr>
              <p:cNvSpPr>
                <a:spLocks noEditPoints="1"/>
              </p:cNvSpPr>
              <p:nvPr userDrawn="1"/>
            </p:nvSpPr>
            <p:spPr bwMode="auto">
              <a:xfrm>
                <a:off x="5131251" y="938123"/>
                <a:ext cx="207455" cy="219867"/>
              </a:xfrm>
              <a:custGeom>
                <a:avLst/>
                <a:gdLst>
                  <a:gd name="T0" fmla="*/ 0 w 477"/>
                  <a:gd name="T1" fmla="*/ 254 h 505"/>
                  <a:gd name="T2" fmla="*/ 0 w 477"/>
                  <a:gd name="T3" fmla="*/ 253 h 505"/>
                  <a:gd name="T4" fmla="*/ 240 w 477"/>
                  <a:gd name="T5" fmla="*/ 0 h 505"/>
                  <a:gd name="T6" fmla="*/ 477 w 477"/>
                  <a:gd name="T7" fmla="*/ 263 h 505"/>
                  <a:gd name="T8" fmla="*/ 475 w 477"/>
                  <a:gd name="T9" fmla="*/ 300 h 505"/>
                  <a:gd name="T10" fmla="*/ 137 w 477"/>
                  <a:gd name="T11" fmla="*/ 300 h 505"/>
                  <a:gd name="T12" fmla="*/ 256 w 477"/>
                  <a:gd name="T13" fmla="*/ 395 h 505"/>
                  <a:gd name="T14" fmla="*/ 373 w 477"/>
                  <a:gd name="T15" fmla="*/ 345 h 505"/>
                  <a:gd name="T16" fmla="*/ 452 w 477"/>
                  <a:gd name="T17" fmla="*/ 415 h 505"/>
                  <a:gd name="T18" fmla="*/ 254 w 477"/>
                  <a:gd name="T19" fmla="*/ 505 h 505"/>
                  <a:gd name="T20" fmla="*/ 0 w 477"/>
                  <a:gd name="T21" fmla="*/ 254 h 505"/>
                  <a:gd name="T22" fmla="*/ 343 w 477"/>
                  <a:gd name="T23" fmla="*/ 214 h 505"/>
                  <a:gd name="T24" fmla="*/ 240 w 477"/>
                  <a:gd name="T25" fmla="*/ 111 h 505"/>
                  <a:gd name="T26" fmla="*/ 135 w 477"/>
                  <a:gd name="T27" fmla="*/ 214 h 505"/>
                  <a:gd name="T28" fmla="*/ 343 w 477"/>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 h="505">
                    <a:moveTo>
                      <a:pt x="0" y="254"/>
                    </a:moveTo>
                    <a:cubicBezTo>
                      <a:pt x="0" y="253"/>
                      <a:pt x="0" y="253"/>
                      <a:pt x="0" y="253"/>
                    </a:cubicBezTo>
                    <a:cubicBezTo>
                      <a:pt x="0" y="114"/>
                      <a:pt x="99" y="0"/>
                      <a:pt x="240" y="0"/>
                    </a:cubicBezTo>
                    <a:cubicBezTo>
                      <a:pt x="402" y="0"/>
                      <a:pt x="477" y="126"/>
                      <a:pt x="477" y="263"/>
                    </a:cubicBezTo>
                    <a:cubicBezTo>
                      <a:pt x="477"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3" y="214"/>
                    </a:moveTo>
                    <a:cubicBezTo>
                      <a:pt x="334" y="152"/>
                      <a:pt x="298" y="111"/>
                      <a:pt x="240" y="111"/>
                    </a:cubicBezTo>
                    <a:cubicBezTo>
                      <a:pt x="183" y="111"/>
                      <a:pt x="146" y="151"/>
                      <a:pt x="135" y="214"/>
                    </a:cubicBezTo>
                    <a:lnTo>
                      <a:pt x="34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Freeform 14">
                <a:extLst>
                  <a:ext uri="{FF2B5EF4-FFF2-40B4-BE49-F238E27FC236}">
                    <a16:creationId xmlns:a16="http://schemas.microsoft.com/office/drawing/2014/main" id="{D3D8F53A-7C54-73FF-7202-68AF9530CEF8}"/>
                  </a:ext>
                </a:extLst>
              </p:cNvPr>
              <p:cNvSpPr>
                <a:spLocks/>
              </p:cNvSpPr>
              <p:nvPr userDrawn="1"/>
            </p:nvSpPr>
            <p:spPr bwMode="auto">
              <a:xfrm>
                <a:off x="5348015" y="938123"/>
                <a:ext cx="195486" cy="219867"/>
              </a:xfrm>
              <a:custGeom>
                <a:avLst/>
                <a:gdLst>
                  <a:gd name="T0" fmla="*/ 0 w 450"/>
                  <a:gd name="T1" fmla="*/ 254 h 505"/>
                  <a:gd name="T2" fmla="*/ 0 w 450"/>
                  <a:gd name="T3" fmla="*/ 253 h 505"/>
                  <a:gd name="T4" fmla="*/ 254 w 450"/>
                  <a:gd name="T5" fmla="*/ 0 h 505"/>
                  <a:gd name="T6" fmla="*/ 448 w 450"/>
                  <a:gd name="T7" fmla="*/ 82 h 505"/>
                  <a:gd name="T8" fmla="*/ 363 w 450"/>
                  <a:gd name="T9" fmla="*/ 172 h 505"/>
                  <a:gd name="T10" fmla="*/ 253 w 450"/>
                  <a:gd name="T11" fmla="*/ 119 h 505"/>
                  <a:gd name="T12" fmla="*/ 135 w 450"/>
                  <a:gd name="T13" fmla="*/ 251 h 505"/>
                  <a:gd name="T14" fmla="*/ 135 w 450"/>
                  <a:gd name="T15" fmla="*/ 253 h 505"/>
                  <a:gd name="T16" fmla="*/ 258 w 450"/>
                  <a:gd name="T17" fmla="*/ 387 h 505"/>
                  <a:gd name="T18" fmla="*/ 370 w 450"/>
                  <a:gd name="T19" fmla="*/ 335 h 505"/>
                  <a:gd name="T20" fmla="*/ 450 w 450"/>
                  <a:gd name="T21" fmla="*/ 416 h 505"/>
                  <a:gd name="T22" fmla="*/ 252 w 450"/>
                  <a:gd name="T23" fmla="*/ 505 h 505"/>
                  <a:gd name="T24" fmla="*/ 0 w 450"/>
                  <a:gd name="T25"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505">
                    <a:moveTo>
                      <a:pt x="0" y="254"/>
                    </a:moveTo>
                    <a:cubicBezTo>
                      <a:pt x="0" y="253"/>
                      <a:pt x="0" y="253"/>
                      <a:pt x="0" y="253"/>
                    </a:cubicBezTo>
                    <a:cubicBezTo>
                      <a:pt x="0" y="114"/>
                      <a:pt x="106" y="0"/>
                      <a:pt x="254" y="0"/>
                    </a:cubicBezTo>
                    <a:cubicBezTo>
                      <a:pt x="345" y="0"/>
                      <a:pt x="402" y="31"/>
                      <a:pt x="448" y="82"/>
                    </a:cubicBezTo>
                    <a:cubicBezTo>
                      <a:pt x="363" y="172"/>
                      <a:pt x="363" y="172"/>
                      <a:pt x="363" y="172"/>
                    </a:cubicBezTo>
                    <a:cubicBezTo>
                      <a:pt x="333" y="139"/>
                      <a:pt x="302" y="119"/>
                      <a:pt x="253" y="119"/>
                    </a:cubicBezTo>
                    <a:cubicBezTo>
                      <a:pt x="184" y="119"/>
                      <a:pt x="135" y="179"/>
                      <a:pt x="135" y="251"/>
                    </a:cubicBezTo>
                    <a:cubicBezTo>
                      <a:pt x="135" y="253"/>
                      <a:pt x="135" y="253"/>
                      <a:pt x="135" y="253"/>
                    </a:cubicBezTo>
                    <a:cubicBezTo>
                      <a:pt x="135" y="327"/>
                      <a:pt x="183" y="387"/>
                      <a:pt x="258" y="387"/>
                    </a:cubicBezTo>
                    <a:cubicBezTo>
                      <a:pt x="305" y="387"/>
                      <a:pt x="336" y="367"/>
                      <a:pt x="370" y="335"/>
                    </a:cubicBezTo>
                    <a:cubicBezTo>
                      <a:pt x="450" y="416"/>
                      <a:pt x="450" y="416"/>
                      <a:pt x="450" y="416"/>
                    </a:cubicBezTo>
                    <a:cubicBezTo>
                      <a:pt x="403" y="468"/>
                      <a:pt x="349" y="505"/>
                      <a:pt x="252" y="505"/>
                    </a:cubicBezTo>
                    <a:cubicBezTo>
                      <a:pt x="106" y="505"/>
                      <a:pt x="0" y="393"/>
                      <a:pt x="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Freeform 15">
                <a:extLst>
                  <a:ext uri="{FF2B5EF4-FFF2-40B4-BE49-F238E27FC236}">
                    <a16:creationId xmlns:a16="http://schemas.microsoft.com/office/drawing/2014/main" id="{BD2B90D5-630B-CFC6-CE5B-4A3E77847404}"/>
                  </a:ext>
                </a:extLst>
              </p:cNvPr>
              <p:cNvSpPr>
                <a:spLocks/>
              </p:cNvSpPr>
              <p:nvPr userDrawn="1"/>
            </p:nvSpPr>
            <p:spPr bwMode="auto">
              <a:xfrm>
                <a:off x="5553254" y="866312"/>
                <a:ext cx="193270" cy="286802"/>
              </a:xfrm>
              <a:custGeom>
                <a:avLst/>
                <a:gdLst>
                  <a:gd name="T0" fmla="*/ 0 w 445"/>
                  <a:gd name="T1" fmla="*/ 0 h 660"/>
                  <a:gd name="T2" fmla="*/ 138 w 445"/>
                  <a:gd name="T3" fmla="*/ 0 h 660"/>
                  <a:gd name="T4" fmla="*/ 138 w 445"/>
                  <a:gd name="T5" fmla="*/ 244 h 660"/>
                  <a:gd name="T6" fmla="*/ 280 w 445"/>
                  <a:gd name="T7" fmla="*/ 166 h 660"/>
                  <a:gd name="T8" fmla="*/ 445 w 445"/>
                  <a:gd name="T9" fmla="*/ 346 h 660"/>
                  <a:gd name="T10" fmla="*/ 445 w 445"/>
                  <a:gd name="T11" fmla="*/ 660 h 660"/>
                  <a:gd name="T12" fmla="*/ 307 w 445"/>
                  <a:gd name="T13" fmla="*/ 660 h 660"/>
                  <a:gd name="T14" fmla="*/ 307 w 445"/>
                  <a:gd name="T15" fmla="*/ 390 h 660"/>
                  <a:gd name="T16" fmla="*/ 224 w 445"/>
                  <a:gd name="T17" fmla="*/ 291 h 660"/>
                  <a:gd name="T18" fmla="*/ 138 w 445"/>
                  <a:gd name="T19" fmla="*/ 390 h 660"/>
                  <a:gd name="T20" fmla="*/ 138 w 445"/>
                  <a:gd name="T21" fmla="*/ 660 h 660"/>
                  <a:gd name="T22" fmla="*/ 0 w 445"/>
                  <a:gd name="T23" fmla="*/ 660 h 660"/>
                  <a:gd name="T24" fmla="*/ 0 w 445"/>
                  <a:gd name="T2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660">
                    <a:moveTo>
                      <a:pt x="0" y="0"/>
                    </a:moveTo>
                    <a:cubicBezTo>
                      <a:pt x="138" y="0"/>
                      <a:pt x="138" y="0"/>
                      <a:pt x="138" y="0"/>
                    </a:cubicBezTo>
                    <a:cubicBezTo>
                      <a:pt x="138" y="244"/>
                      <a:pt x="138" y="244"/>
                      <a:pt x="138" y="244"/>
                    </a:cubicBezTo>
                    <a:cubicBezTo>
                      <a:pt x="169" y="203"/>
                      <a:pt x="210" y="166"/>
                      <a:pt x="280" y="166"/>
                    </a:cubicBezTo>
                    <a:cubicBezTo>
                      <a:pt x="384" y="166"/>
                      <a:pt x="445" y="235"/>
                      <a:pt x="445" y="346"/>
                    </a:cubicBezTo>
                    <a:cubicBezTo>
                      <a:pt x="445" y="660"/>
                      <a:pt x="445" y="660"/>
                      <a:pt x="445" y="660"/>
                    </a:cubicBezTo>
                    <a:cubicBezTo>
                      <a:pt x="307" y="660"/>
                      <a:pt x="307" y="660"/>
                      <a:pt x="307" y="660"/>
                    </a:cubicBezTo>
                    <a:cubicBezTo>
                      <a:pt x="307" y="390"/>
                      <a:pt x="307" y="390"/>
                      <a:pt x="307" y="390"/>
                    </a:cubicBezTo>
                    <a:cubicBezTo>
                      <a:pt x="307" y="324"/>
                      <a:pt x="276" y="291"/>
                      <a:pt x="224" y="291"/>
                    </a:cubicBezTo>
                    <a:cubicBezTo>
                      <a:pt x="171" y="291"/>
                      <a:pt x="138" y="324"/>
                      <a:pt x="138" y="390"/>
                    </a:cubicBezTo>
                    <a:cubicBezTo>
                      <a:pt x="138" y="660"/>
                      <a:pt x="138" y="660"/>
                      <a:pt x="138" y="660"/>
                    </a:cubicBezTo>
                    <a:cubicBezTo>
                      <a:pt x="0" y="660"/>
                      <a:pt x="0" y="660"/>
                      <a:pt x="0" y="66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16">
                <a:extLst>
                  <a:ext uri="{FF2B5EF4-FFF2-40B4-BE49-F238E27FC236}">
                    <a16:creationId xmlns:a16="http://schemas.microsoft.com/office/drawing/2014/main" id="{44BDC175-2104-E7E3-2519-DA2F92A4A931}"/>
                  </a:ext>
                </a:extLst>
              </p:cNvPr>
              <p:cNvSpPr>
                <a:spLocks/>
              </p:cNvSpPr>
              <p:nvPr userDrawn="1"/>
            </p:nvSpPr>
            <p:spPr bwMode="auto">
              <a:xfrm>
                <a:off x="5762039" y="938123"/>
                <a:ext cx="192827" cy="214991"/>
              </a:xfrm>
              <a:custGeom>
                <a:avLst/>
                <a:gdLst>
                  <a:gd name="T0" fmla="*/ 0 w 444"/>
                  <a:gd name="T1" fmla="*/ 9 h 494"/>
                  <a:gd name="T2" fmla="*/ 137 w 444"/>
                  <a:gd name="T3" fmla="*/ 9 h 494"/>
                  <a:gd name="T4" fmla="*/ 137 w 444"/>
                  <a:gd name="T5" fmla="*/ 78 h 494"/>
                  <a:gd name="T6" fmla="*/ 279 w 444"/>
                  <a:gd name="T7" fmla="*/ 0 h 494"/>
                  <a:gd name="T8" fmla="*/ 444 w 444"/>
                  <a:gd name="T9" fmla="*/ 180 h 494"/>
                  <a:gd name="T10" fmla="*/ 444 w 444"/>
                  <a:gd name="T11" fmla="*/ 494 h 494"/>
                  <a:gd name="T12" fmla="*/ 306 w 444"/>
                  <a:gd name="T13" fmla="*/ 494 h 494"/>
                  <a:gd name="T14" fmla="*/ 306 w 444"/>
                  <a:gd name="T15" fmla="*/ 224 h 494"/>
                  <a:gd name="T16" fmla="*/ 223 w 444"/>
                  <a:gd name="T17" fmla="*/ 125 h 494"/>
                  <a:gd name="T18" fmla="*/ 137 w 444"/>
                  <a:gd name="T19" fmla="*/ 224 h 494"/>
                  <a:gd name="T20" fmla="*/ 137 w 444"/>
                  <a:gd name="T21" fmla="*/ 494 h 494"/>
                  <a:gd name="T22" fmla="*/ 0 w 444"/>
                  <a:gd name="T23" fmla="*/ 494 h 494"/>
                  <a:gd name="T24" fmla="*/ 0 w 444"/>
                  <a:gd name="T25"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94">
                    <a:moveTo>
                      <a:pt x="0" y="9"/>
                    </a:moveTo>
                    <a:cubicBezTo>
                      <a:pt x="137" y="9"/>
                      <a:pt x="137" y="9"/>
                      <a:pt x="137" y="9"/>
                    </a:cubicBezTo>
                    <a:cubicBezTo>
                      <a:pt x="137" y="78"/>
                      <a:pt x="137" y="78"/>
                      <a:pt x="137" y="78"/>
                    </a:cubicBezTo>
                    <a:cubicBezTo>
                      <a:pt x="169" y="37"/>
                      <a:pt x="210" y="0"/>
                      <a:pt x="279" y="0"/>
                    </a:cubicBezTo>
                    <a:cubicBezTo>
                      <a:pt x="383" y="0"/>
                      <a:pt x="444" y="69"/>
                      <a:pt x="444" y="180"/>
                    </a:cubicBezTo>
                    <a:cubicBezTo>
                      <a:pt x="444" y="494"/>
                      <a:pt x="444" y="494"/>
                      <a:pt x="444" y="494"/>
                    </a:cubicBezTo>
                    <a:cubicBezTo>
                      <a:pt x="306" y="494"/>
                      <a:pt x="306" y="494"/>
                      <a:pt x="306" y="494"/>
                    </a:cubicBezTo>
                    <a:cubicBezTo>
                      <a:pt x="306" y="224"/>
                      <a:pt x="306" y="224"/>
                      <a:pt x="306" y="224"/>
                    </a:cubicBezTo>
                    <a:cubicBezTo>
                      <a:pt x="306" y="158"/>
                      <a:pt x="276" y="125"/>
                      <a:pt x="223" y="125"/>
                    </a:cubicBezTo>
                    <a:cubicBezTo>
                      <a:pt x="171" y="125"/>
                      <a:pt x="137" y="158"/>
                      <a:pt x="137" y="224"/>
                    </a:cubicBezTo>
                    <a:cubicBezTo>
                      <a:pt x="137" y="494"/>
                      <a:pt x="137" y="494"/>
                      <a:pt x="137"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17">
                <a:extLst>
                  <a:ext uri="{FF2B5EF4-FFF2-40B4-BE49-F238E27FC236}">
                    <a16:creationId xmlns:a16="http://schemas.microsoft.com/office/drawing/2014/main" id="{E76CB955-2FC2-83C2-AC09-AD01BCCF18B2}"/>
                  </a:ext>
                </a:extLst>
              </p:cNvPr>
              <p:cNvSpPr>
                <a:spLocks noEditPoints="1"/>
              </p:cNvSpPr>
              <p:nvPr userDrawn="1"/>
            </p:nvSpPr>
            <p:spPr bwMode="auto">
              <a:xfrm>
                <a:off x="5967277" y="938123"/>
                <a:ext cx="228289" cy="219867"/>
              </a:xfrm>
              <a:custGeom>
                <a:avLst/>
                <a:gdLst>
                  <a:gd name="T0" fmla="*/ 0 w 525"/>
                  <a:gd name="T1" fmla="*/ 254 h 505"/>
                  <a:gd name="T2" fmla="*/ 0 w 525"/>
                  <a:gd name="T3" fmla="*/ 253 h 505"/>
                  <a:gd name="T4" fmla="*/ 263 w 525"/>
                  <a:gd name="T5" fmla="*/ 0 h 505"/>
                  <a:gd name="T6" fmla="*/ 525 w 525"/>
                  <a:gd name="T7" fmla="*/ 251 h 505"/>
                  <a:gd name="T8" fmla="*/ 525 w 525"/>
                  <a:gd name="T9" fmla="*/ 253 h 505"/>
                  <a:gd name="T10" fmla="*/ 262 w 525"/>
                  <a:gd name="T11" fmla="*/ 505 h 505"/>
                  <a:gd name="T12" fmla="*/ 0 w 525"/>
                  <a:gd name="T13" fmla="*/ 254 h 505"/>
                  <a:gd name="T14" fmla="*/ 389 w 525"/>
                  <a:gd name="T15" fmla="*/ 254 h 505"/>
                  <a:gd name="T16" fmla="*/ 389 w 525"/>
                  <a:gd name="T17" fmla="*/ 253 h 505"/>
                  <a:gd name="T18" fmla="*/ 262 w 525"/>
                  <a:gd name="T19" fmla="*/ 119 h 505"/>
                  <a:gd name="T20" fmla="*/ 136 w 525"/>
                  <a:gd name="T21" fmla="*/ 251 h 505"/>
                  <a:gd name="T22" fmla="*/ 136 w 525"/>
                  <a:gd name="T23" fmla="*/ 253 h 505"/>
                  <a:gd name="T24" fmla="*/ 263 w 525"/>
                  <a:gd name="T25" fmla="*/ 387 h 505"/>
                  <a:gd name="T26" fmla="*/ 389 w 525"/>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5">
                    <a:moveTo>
                      <a:pt x="0" y="254"/>
                    </a:moveTo>
                    <a:cubicBezTo>
                      <a:pt x="0" y="253"/>
                      <a:pt x="0" y="253"/>
                      <a:pt x="0" y="253"/>
                    </a:cubicBezTo>
                    <a:cubicBezTo>
                      <a:pt x="0" y="113"/>
                      <a:pt x="112" y="0"/>
                      <a:pt x="263" y="0"/>
                    </a:cubicBezTo>
                    <a:cubicBezTo>
                      <a:pt x="414" y="0"/>
                      <a:pt x="525" y="111"/>
                      <a:pt x="525" y="251"/>
                    </a:cubicBezTo>
                    <a:cubicBezTo>
                      <a:pt x="525" y="253"/>
                      <a:pt x="525" y="253"/>
                      <a:pt x="525" y="253"/>
                    </a:cubicBezTo>
                    <a:cubicBezTo>
                      <a:pt x="525" y="392"/>
                      <a:pt x="413" y="505"/>
                      <a:pt x="262" y="505"/>
                    </a:cubicBezTo>
                    <a:cubicBezTo>
                      <a:pt x="111" y="505"/>
                      <a:pt x="0" y="394"/>
                      <a:pt x="0" y="254"/>
                    </a:cubicBezTo>
                    <a:close/>
                    <a:moveTo>
                      <a:pt x="389" y="254"/>
                    </a:moveTo>
                    <a:cubicBezTo>
                      <a:pt x="389" y="253"/>
                      <a:pt x="389" y="253"/>
                      <a:pt x="389" y="253"/>
                    </a:cubicBezTo>
                    <a:cubicBezTo>
                      <a:pt x="389" y="181"/>
                      <a:pt x="338" y="119"/>
                      <a:pt x="262" y="119"/>
                    </a:cubicBezTo>
                    <a:cubicBezTo>
                      <a:pt x="183" y="119"/>
                      <a:pt x="136" y="179"/>
                      <a:pt x="136" y="251"/>
                    </a:cubicBezTo>
                    <a:cubicBezTo>
                      <a:pt x="136" y="253"/>
                      <a:pt x="136" y="253"/>
                      <a:pt x="136" y="253"/>
                    </a:cubicBezTo>
                    <a:cubicBezTo>
                      <a:pt x="136" y="324"/>
                      <a:pt x="187" y="387"/>
                      <a:pt x="263" y="387"/>
                    </a:cubicBezTo>
                    <a:cubicBezTo>
                      <a:pt x="342" y="387"/>
                      <a:pt x="389" y="326"/>
                      <a:pt x="389"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Rectangle 18">
                <a:extLst>
                  <a:ext uri="{FF2B5EF4-FFF2-40B4-BE49-F238E27FC236}">
                    <a16:creationId xmlns:a16="http://schemas.microsoft.com/office/drawing/2014/main" id="{BB15E459-A560-CBA7-38D2-49EC0DF1798C}"/>
                  </a:ext>
                </a:extLst>
              </p:cNvPr>
              <p:cNvSpPr>
                <a:spLocks noChangeArrowheads="1"/>
              </p:cNvSpPr>
              <p:nvPr userDrawn="1"/>
            </p:nvSpPr>
            <p:spPr bwMode="auto">
              <a:xfrm>
                <a:off x="6207091" y="866312"/>
                <a:ext cx="59843" cy="2868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19">
                <a:extLst>
                  <a:ext uri="{FF2B5EF4-FFF2-40B4-BE49-F238E27FC236}">
                    <a16:creationId xmlns:a16="http://schemas.microsoft.com/office/drawing/2014/main" id="{A894E637-6612-023A-5D26-292EB224BB2E}"/>
                  </a:ext>
                </a:extLst>
              </p:cNvPr>
              <p:cNvSpPr>
                <a:spLocks noEditPoints="1"/>
              </p:cNvSpPr>
              <p:nvPr userDrawn="1"/>
            </p:nvSpPr>
            <p:spPr bwMode="auto">
              <a:xfrm>
                <a:off x="6278460" y="938123"/>
                <a:ext cx="228732" cy="219867"/>
              </a:xfrm>
              <a:custGeom>
                <a:avLst/>
                <a:gdLst>
                  <a:gd name="T0" fmla="*/ 0 w 526"/>
                  <a:gd name="T1" fmla="*/ 254 h 505"/>
                  <a:gd name="T2" fmla="*/ 0 w 526"/>
                  <a:gd name="T3" fmla="*/ 253 h 505"/>
                  <a:gd name="T4" fmla="*/ 264 w 526"/>
                  <a:gd name="T5" fmla="*/ 0 h 505"/>
                  <a:gd name="T6" fmla="*/ 526 w 526"/>
                  <a:gd name="T7" fmla="*/ 251 h 505"/>
                  <a:gd name="T8" fmla="*/ 526 w 526"/>
                  <a:gd name="T9" fmla="*/ 253 h 505"/>
                  <a:gd name="T10" fmla="*/ 262 w 526"/>
                  <a:gd name="T11" fmla="*/ 505 h 505"/>
                  <a:gd name="T12" fmla="*/ 0 w 526"/>
                  <a:gd name="T13" fmla="*/ 254 h 505"/>
                  <a:gd name="T14" fmla="*/ 390 w 526"/>
                  <a:gd name="T15" fmla="*/ 254 h 505"/>
                  <a:gd name="T16" fmla="*/ 390 w 526"/>
                  <a:gd name="T17" fmla="*/ 253 h 505"/>
                  <a:gd name="T18" fmla="*/ 262 w 526"/>
                  <a:gd name="T19" fmla="*/ 119 h 505"/>
                  <a:gd name="T20" fmla="*/ 136 w 526"/>
                  <a:gd name="T21" fmla="*/ 251 h 505"/>
                  <a:gd name="T22" fmla="*/ 136 w 526"/>
                  <a:gd name="T23" fmla="*/ 253 h 505"/>
                  <a:gd name="T24" fmla="*/ 264 w 526"/>
                  <a:gd name="T25" fmla="*/ 387 h 505"/>
                  <a:gd name="T26" fmla="*/ 390 w 526"/>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05">
                    <a:moveTo>
                      <a:pt x="0" y="254"/>
                    </a:moveTo>
                    <a:cubicBezTo>
                      <a:pt x="0" y="253"/>
                      <a:pt x="0" y="253"/>
                      <a:pt x="0" y="253"/>
                    </a:cubicBezTo>
                    <a:cubicBezTo>
                      <a:pt x="0" y="113"/>
                      <a:pt x="113" y="0"/>
                      <a:pt x="264" y="0"/>
                    </a:cubicBezTo>
                    <a:cubicBezTo>
                      <a:pt x="414" y="0"/>
                      <a:pt x="526" y="111"/>
                      <a:pt x="526" y="251"/>
                    </a:cubicBezTo>
                    <a:cubicBezTo>
                      <a:pt x="526" y="253"/>
                      <a:pt x="526" y="253"/>
                      <a:pt x="526" y="253"/>
                    </a:cubicBezTo>
                    <a:cubicBezTo>
                      <a:pt x="526" y="392"/>
                      <a:pt x="413" y="505"/>
                      <a:pt x="262" y="505"/>
                    </a:cubicBezTo>
                    <a:cubicBezTo>
                      <a:pt x="112" y="505"/>
                      <a:pt x="0" y="394"/>
                      <a:pt x="0" y="254"/>
                    </a:cubicBezTo>
                    <a:close/>
                    <a:moveTo>
                      <a:pt x="390" y="254"/>
                    </a:moveTo>
                    <a:cubicBezTo>
                      <a:pt x="390" y="253"/>
                      <a:pt x="390" y="253"/>
                      <a:pt x="390" y="253"/>
                    </a:cubicBezTo>
                    <a:cubicBezTo>
                      <a:pt x="390" y="181"/>
                      <a:pt x="338" y="119"/>
                      <a:pt x="262" y="119"/>
                    </a:cubicBezTo>
                    <a:cubicBezTo>
                      <a:pt x="183" y="119"/>
                      <a:pt x="136" y="179"/>
                      <a:pt x="136" y="251"/>
                    </a:cubicBezTo>
                    <a:cubicBezTo>
                      <a:pt x="136" y="253"/>
                      <a:pt x="136" y="253"/>
                      <a:pt x="136" y="253"/>
                    </a:cubicBezTo>
                    <a:cubicBezTo>
                      <a:pt x="136" y="324"/>
                      <a:pt x="188" y="387"/>
                      <a:pt x="264" y="387"/>
                    </a:cubicBezTo>
                    <a:cubicBezTo>
                      <a:pt x="343" y="387"/>
                      <a:pt x="390" y="326"/>
                      <a:pt x="39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20">
                <a:extLst>
                  <a:ext uri="{FF2B5EF4-FFF2-40B4-BE49-F238E27FC236}">
                    <a16:creationId xmlns:a16="http://schemas.microsoft.com/office/drawing/2014/main" id="{C612BEEF-FFCF-00C7-83E8-3D6CD89DD8B2}"/>
                  </a:ext>
                </a:extLst>
              </p:cNvPr>
              <p:cNvSpPr>
                <a:spLocks noEditPoints="1"/>
              </p:cNvSpPr>
              <p:nvPr userDrawn="1"/>
            </p:nvSpPr>
            <p:spPr bwMode="auto">
              <a:xfrm>
                <a:off x="6516057" y="938123"/>
                <a:ext cx="221197" cy="278823"/>
              </a:xfrm>
              <a:custGeom>
                <a:avLst/>
                <a:gdLst>
                  <a:gd name="T0" fmla="*/ 24 w 509"/>
                  <a:gd name="T1" fmla="*/ 590 h 641"/>
                  <a:gd name="T2" fmla="*/ 71 w 509"/>
                  <a:gd name="T3" fmla="*/ 487 h 641"/>
                  <a:gd name="T4" fmla="*/ 235 w 509"/>
                  <a:gd name="T5" fmla="*/ 531 h 641"/>
                  <a:gd name="T6" fmla="*/ 373 w 509"/>
                  <a:gd name="T7" fmla="*/ 399 h 641"/>
                  <a:gd name="T8" fmla="*/ 373 w 509"/>
                  <a:gd name="T9" fmla="*/ 376 h 641"/>
                  <a:gd name="T10" fmla="*/ 215 w 509"/>
                  <a:gd name="T11" fmla="*/ 454 h 641"/>
                  <a:gd name="T12" fmla="*/ 0 w 509"/>
                  <a:gd name="T13" fmla="*/ 228 h 641"/>
                  <a:gd name="T14" fmla="*/ 0 w 509"/>
                  <a:gd name="T15" fmla="*/ 226 h 641"/>
                  <a:gd name="T16" fmla="*/ 215 w 509"/>
                  <a:gd name="T17" fmla="*/ 0 h 641"/>
                  <a:gd name="T18" fmla="*/ 372 w 509"/>
                  <a:gd name="T19" fmla="*/ 72 h 641"/>
                  <a:gd name="T20" fmla="*/ 372 w 509"/>
                  <a:gd name="T21" fmla="*/ 9 h 641"/>
                  <a:gd name="T22" fmla="*/ 509 w 509"/>
                  <a:gd name="T23" fmla="*/ 9 h 641"/>
                  <a:gd name="T24" fmla="*/ 509 w 509"/>
                  <a:gd name="T25" fmla="*/ 385 h 641"/>
                  <a:gd name="T26" fmla="*/ 448 w 509"/>
                  <a:gd name="T27" fmla="*/ 576 h 641"/>
                  <a:gd name="T28" fmla="*/ 239 w 509"/>
                  <a:gd name="T29" fmla="*/ 641 h 641"/>
                  <a:gd name="T30" fmla="*/ 24 w 509"/>
                  <a:gd name="T31" fmla="*/ 590 h 641"/>
                  <a:gd name="T32" fmla="*/ 373 w 509"/>
                  <a:gd name="T33" fmla="*/ 228 h 641"/>
                  <a:gd name="T34" fmla="*/ 373 w 509"/>
                  <a:gd name="T35" fmla="*/ 226 h 641"/>
                  <a:gd name="T36" fmla="*/ 255 w 509"/>
                  <a:gd name="T37" fmla="*/ 114 h 641"/>
                  <a:gd name="T38" fmla="*/ 137 w 509"/>
                  <a:gd name="T39" fmla="*/ 226 h 641"/>
                  <a:gd name="T40" fmla="*/ 137 w 509"/>
                  <a:gd name="T41" fmla="*/ 228 h 641"/>
                  <a:gd name="T42" fmla="*/ 255 w 509"/>
                  <a:gd name="T43" fmla="*/ 340 h 641"/>
                  <a:gd name="T44" fmla="*/ 373 w 509"/>
                  <a:gd name="T45" fmla="*/ 2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9" h="641">
                    <a:moveTo>
                      <a:pt x="24" y="590"/>
                    </a:moveTo>
                    <a:cubicBezTo>
                      <a:pt x="71" y="487"/>
                      <a:pt x="71" y="487"/>
                      <a:pt x="71" y="487"/>
                    </a:cubicBezTo>
                    <a:cubicBezTo>
                      <a:pt x="121" y="515"/>
                      <a:pt x="171" y="531"/>
                      <a:pt x="235" y="531"/>
                    </a:cubicBezTo>
                    <a:cubicBezTo>
                      <a:pt x="329" y="531"/>
                      <a:pt x="373" y="486"/>
                      <a:pt x="373" y="399"/>
                    </a:cubicBezTo>
                    <a:cubicBezTo>
                      <a:pt x="373" y="376"/>
                      <a:pt x="373" y="376"/>
                      <a:pt x="373" y="376"/>
                    </a:cubicBezTo>
                    <a:cubicBezTo>
                      <a:pt x="333" y="425"/>
                      <a:pt x="288" y="454"/>
                      <a:pt x="215" y="454"/>
                    </a:cubicBezTo>
                    <a:cubicBezTo>
                      <a:pt x="102" y="454"/>
                      <a:pt x="0" y="372"/>
                      <a:pt x="0" y="228"/>
                    </a:cubicBezTo>
                    <a:cubicBezTo>
                      <a:pt x="0" y="226"/>
                      <a:pt x="0" y="226"/>
                      <a:pt x="0" y="226"/>
                    </a:cubicBezTo>
                    <a:cubicBezTo>
                      <a:pt x="0" y="82"/>
                      <a:pt x="104" y="0"/>
                      <a:pt x="215" y="0"/>
                    </a:cubicBezTo>
                    <a:cubicBezTo>
                      <a:pt x="290" y="0"/>
                      <a:pt x="334" y="32"/>
                      <a:pt x="372" y="72"/>
                    </a:cubicBezTo>
                    <a:cubicBezTo>
                      <a:pt x="372" y="9"/>
                      <a:pt x="372" y="9"/>
                      <a:pt x="372" y="9"/>
                    </a:cubicBezTo>
                    <a:cubicBezTo>
                      <a:pt x="509" y="9"/>
                      <a:pt x="509" y="9"/>
                      <a:pt x="509" y="9"/>
                    </a:cubicBezTo>
                    <a:cubicBezTo>
                      <a:pt x="509" y="385"/>
                      <a:pt x="509" y="385"/>
                      <a:pt x="509" y="385"/>
                    </a:cubicBezTo>
                    <a:cubicBezTo>
                      <a:pt x="509" y="472"/>
                      <a:pt x="488" y="535"/>
                      <a:pt x="448" y="576"/>
                    </a:cubicBezTo>
                    <a:cubicBezTo>
                      <a:pt x="402" y="621"/>
                      <a:pt x="333" y="641"/>
                      <a:pt x="239" y="641"/>
                    </a:cubicBezTo>
                    <a:cubicBezTo>
                      <a:pt x="160" y="641"/>
                      <a:pt x="86" y="623"/>
                      <a:pt x="24" y="590"/>
                    </a:cubicBezTo>
                    <a:close/>
                    <a:moveTo>
                      <a:pt x="373" y="228"/>
                    </a:moveTo>
                    <a:cubicBezTo>
                      <a:pt x="373" y="226"/>
                      <a:pt x="373" y="226"/>
                      <a:pt x="373" y="226"/>
                    </a:cubicBezTo>
                    <a:cubicBezTo>
                      <a:pt x="373" y="160"/>
                      <a:pt x="322" y="114"/>
                      <a:pt x="255" y="114"/>
                    </a:cubicBezTo>
                    <a:cubicBezTo>
                      <a:pt x="188" y="114"/>
                      <a:pt x="137" y="160"/>
                      <a:pt x="137" y="226"/>
                    </a:cubicBezTo>
                    <a:cubicBezTo>
                      <a:pt x="137" y="228"/>
                      <a:pt x="137" y="228"/>
                      <a:pt x="137" y="228"/>
                    </a:cubicBezTo>
                    <a:cubicBezTo>
                      <a:pt x="137" y="295"/>
                      <a:pt x="188" y="340"/>
                      <a:pt x="255" y="340"/>
                    </a:cubicBezTo>
                    <a:cubicBezTo>
                      <a:pt x="322" y="340"/>
                      <a:pt x="373" y="294"/>
                      <a:pt x="373"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21">
                <a:extLst>
                  <a:ext uri="{FF2B5EF4-FFF2-40B4-BE49-F238E27FC236}">
                    <a16:creationId xmlns:a16="http://schemas.microsoft.com/office/drawing/2014/main" id="{535443A8-F420-58B0-6940-C7217CB7D304}"/>
                  </a:ext>
                </a:extLst>
              </p:cNvPr>
              <p:cNvSpPr>
                <a:spLocks/>
              </p:cNvSpPr>
              <p:nvPr userDrawn="1"/>
            </p:nvSpPr>
            <p:spPr bwMode="auto">
              <a:xfrm>
                <a:off x="6747450" y="942113"/>
                <a:ext cx="219424" cy="275277"/>
              </a:xfrm>
              <a:custGeom>
                <a:avLst/>
                <a:gdLst>
                  <a:gd name="T0" fmla="*/ 362 w 505"/>
                  <a:gd name="T1" fmla="*/ 0 h 633"/>
                  <a:gd name="T2" fmla="*/ 505 w 505"/>
                  <a:gd name="T3" fmla="*/ 0 h 633"/>
                  <a:gd name="T4" fmla="*/ 319 w 505"/>
                  <a:gd name="T5" fmla="*/ 497 h 633"/>
                  <a:gd name="T6" fmla="*/ 159 w 505"/>
                  <a:gd name="T7" fmla="*/ 633 h 633"/>
                  <a:gd name="T8" fmla="*/ 37 w 505"/>
                  <a:gd name="T9" fmla="*/ 599 h 633"/>
                  <a:gd name="T10" fmla="*/ 83 w 505"/>
                  <a:gd name="T11" fmla="*/ 500 h 633"/>
                  <a:gd name="T12" fmla="*/ 142 w 505"/>
                  <a:gd name="T13" fmla="*/ 519 h 633"/>
                  <a:gd name="T14" fmla="*/ 190 w 505"/>
                  <a:gd name="T15" fmla="*/ 487 h 633"/>
                  <a:gd name="T16" fmla="*/ 0 w 505"/>
                  <a:gd name="T17" fmla="*/ 0 h 633"/>
                  <a:gd name="T18" fmla="*/ 146 w 505"/>
                  <a:gd name="T19" fmla="*/ 0 h 633"/>
                  <a:gd name="T20" fmla="*/ 256 w 505"/>
                  <a:gd name="T21" fmla="*/ 331 h 633"/>
                  <a:gd name="T22" fmla="*/ 362 w 505"/>
                  <a:gd name="T2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633">
                    <a:moveTo>
                      <a:pt x="362" y="0"/>
                    </a:moveTo>
                    <a:cubicBezTo>
                      <a:pt x="505" y="0"/>
                      <a:pt x="505" y="0"/>
                      <a:pt x="505" y="0"/>
                    </a:cubicBezTo>
                    <a:cubicBezTo>
                      <a:pt x="319" y="497"/>
                      <a:pt x="319" y="497"/>
                      <a:pt x="319" y="497"/>
                    </a:cubicBezTo>
                    <a:cubicBezTo>
                      <a:pt x="282" y="596"/>
                      <a:pt x="242" y="633"/>
                      <a:pt x="159" y="633"/>
                    </a:cubicBezTo>
                    <a:cubicBezTo>
                      <a:pt x="110" y="633"/>
                      <a:pt x="73" y="620"/>
                      <a:pt x="37" y="599"/>
                    </a:cubicBezTo>
                    <a:cubicBezTo>
                      <a:pt x="83" y="500"/>
                      <a:pt x="83" y="500"/>
                      <a:pt x="83" y="500"/>
                    </a:cubicBezTo>
                    <a:cubicBezTo>
                      <a:pt x="101" y="511"/>
                      <a:pt x="124" y="519"/>
                      <a:pt x="142" y="519"/>
                    </a:cubicBezTo>
                    <a:cubicBezTo>
                      <a:pt x="166" y="519"/>
                      <a:pt x="178" y="512"/>
                      <a:pt x="190" y="487"/>
                    </a:cubicBezTo>
                    <a:cubicBezTo>
                      <a:pt x="0" y="0"/>
                      <a:pt x="0" y="0"/>
                      <a:pt x="0" y="0"/>
                    </a:cubicBezTo>
                    <a:cubicBezTo>
                      <a:pt x="146" y="0"/>
                      <a:pt x="146" y="0"/>
                      <a:pt x="146" y="0"/>
                    </a:cubicBezTo>
                    <a:cubicBezTo>
                      <a:pt x="256" y="331"/>
                      <a:pt x="256" y="331"/>
                      <a:pt x="256" y="331"/>
                    </a:cubicBez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22">
                <a:extLst>
                  <a:ext uri="{FF2B5EF4-FFF2-40B4-BE49-F238E27FC236}">
                    <a16:creationId xmlns:a16="http://schemas.microsoft.com/office/drawing/2014/main" id="{D577C4C5-162A-509E-0F90-2D9CF5560B46}"/>
                  </a:ext>
                </a:extLst>
              </p:cNvPr>
              <p:cNvSpPr>
                <a:spLocks/>
              </p:cNvSpPr>
              <p:nvPr userDrawn="1"/>
            </p:nvSpPr>
            <p:spPr bwMode="auto">
              <a:xfrm>
                <a:off x="6005842" y="1258171"/>
                <a:ext cx="132541" cy="290348"/>
              </a:xfrm>
              <a:custGeom>
                <a:avLst/>
                <a:gdLst>
                  <a:gd name="T0" fmla="*/ 57 w 305"/>
                  <a:gd name="T1" fmla="*/ 299 h 667"/>
                  <a:gd name="T2" fmla="*/ 0 w 305"/>
                  <a:gd name="T3" fmla="*/ 299 h 667"/>
                  <a:gd name="T4" fmla="*/ 0 w 305"/>
                  <a:gd name="T5" fmla="*/ 186 h 667"/>
                  <a:gd name="T6" fmla="*/ 57 w 305"/>
                  <a:gd name="T7" fmla="*/ 186 h 667"/>
                  <a:gd name="T8" fmla="*/ 57 w 305"/>
                  <a:gd name="T9" fmla="*/ 155 h 667"/>
                  <a:gd name="T10" fmla="*/ 96 w 305"/>
                  <a:gd name="T11" fmla="*/ 38 h 667"/>
                  <a:gd name="T12" fmla="*/ 208 w 305"/>
                  <a:gd name="T13" fmla="*/ 0 h 667"/>
                  <a:gd name="T14" fmla="*/ 305 w 305"/>
                  <a:gd name="T15" fmla="*/ 13 h 667"/>
                  <a:gd name="T16" fmla="*/ 305 w 305"/>
                  <a:gd name="T17" fmla="*/ 127 h 667"/>
                  <a:gd name="T18" fmla="*/ 243 w 305"/>
                  <a:gd name="T19" fmla="*/ 115 h 667"/>
                  <a:gd name="T20" fmla="*/ 193 w 305"/>
                  <a:gd name="T21" fmla="*/ 168 h 667"/>
                  <a:gd name="T22" fmla="*/ 193 w 305"/>
                  <a:gd name="T23" fmla="*/ 187 h 667"/>
                  <a:gd name="T24" fmla="*/ 305 w 305"/>
                  <a:gd name="T25" fmla="*/ 187 h 667"/>
                  <a:gd name="T26" fmla="*/ 305 w 305"/>
                  <a:gd name="T27" fmla="*/ 299 h 667"/>
                  <a:gd name="T28" fmla="*/ 195 w 305"/>
                  <a:gd name="T29" fmla="*/ 299 h 667"/>
                  <a:gd name="T30" fmla="*/ 195 w 305"/>
                  <a:gd name="T31" fmla="*/ 667 h 667"/>
                  <a:gd name="T32" fmla="*/ 57 w 305"/>
                  <a:gd name="T33" fmla="*/ 667 h 667"/>
                  <a:gd name="T34" fmla="*/ 57 w 305"/>
                  <a:gd name="T35" fmla="*/ 29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667">
                    <a:moveTo>
                      <a:pt x="57" y="299"/>
                    </a:moveTo>
                    <a:cubicBezTo>
                      <a:pt x="0" y="299"/>
                      <a:pt x="0" y="299"/>
                      <a:pt x="0" y="299"/>
                    </a:cubicBezTo>
                    <a:cubicBezTo>
                      <a:pt x="0" y="186"/>
                      <a:pt x="0" y="186"/>
                      <a:pt x="0" y="186"/>
                    </a:cubicBezTo>
                    <a:cubicBezTo>
                      <a:pt x="57" y="186"/>
                      <a:pt x="57" y="186"/>
                      <a:pt x="57" y="186"/>
                    </a:cubicBezTo>
                    <a:cubicBezTo>
                      <a:pt x="57" y="155"/>
                      <a:pt x="57" y="155"/>
                      <a:pt x="57" y="155"/>
                    </a:cubicBezTo>
                    <a:cubicBezTo>
                      <a:pt x="57" y="102"/>
                      <a:pt x="71" y="63"/>
                      <a:pt x="96" y="38"/>
                    </a:cubicBezTo>
                    <a:cubicBezTo>
                      <a:pt x="122" y="12"/>
                      <a:pt x="159" y="0"/>
                      <a:pt x="208" y="0"/>
                    </a:cubicBezTo>
                    <a:cubicBezTo>
                      <a:pt x="251" y="0"/>
                      <a:pt x="280" y="5"/>
                      <a:pt x="305" y="13"/>
                    </a:cubicBezTo>
                    <a:cubicBezTo>
                      <a:pt x="305" y="127"/>
                      <a:pt x="305" y="127"/>
                      <a:pt x="305" y="127"/>
                    </a:cubicBezTo>
                    <a:cubicBezTo>
                      <a:pt x="286" y="120"/>
                      <a:pt x="267" y="115"/>
                      <a:pt x="243" y="115"/>
                    </a:cubicBezTo>
                    <a:cubicBezTo>
                      <a:pt x="211" y="115"/>
                      <a:pt x="193" y="132"/>
                      <a:pt x="193" y="168"/>
                    </a:cubicBezTo>
                    <a:cubicBezTo>
                      <a:pt x="193" y="187"/>
                      <a:pt x="193" y="187"/>
                      <a:pt x="193" y="187"/>
                    </a:cubicBezTo>
                    <a:cubicBezTo>
                      <a:pt x="305" y="187"/>
                      <a:pt x="305" y="187"/>
                      <a:pt x="305" y="187"/>
                    </a:cubicBezTo>
                    <a:cubicBezTo>
                      <a:pt x="305" y="299"/>
                      <a:pt x="305" y="299"/>
                      <a:pt x="305" y="299"/>
                    </a:cubicBezTo>
                    <a:cubicBezTo>
                      <a:pt x="195" y="299"/>
                      <a:pt x="195" y="299"/>
                      <a:pt x="195" y="299"/>
                    </a:cubicBezTo>
                    <a:cubicBezTo>
                      <a:pt x="195" y="667"/>
                      <a:pt x="195" y="667"/>
                      <a:pt x="195" y="667"/>
                    </a:cubicBezTo>
                    <a:cubicBezTo>
                      <a:pt x="57" y="667"/>
                      <a:pt x="57" y="667"/>
                      <a:pt x="57" y="667"/>
                    </a:cubicBezTo>
                    <a:lnTo>
                      <a:pt x="57"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23">
                <a:extLst>
                  <a:ext uri="{FF2B5EF4-FFF2-40B4-BE49-F238E27FC236}">
                    <a16:creationId xmlns:a16="http://schemas.microsoft.com/office/drawing/2014/main" id="{9CB671CE-477D-F1B3-6894-F85448189A99}"/>
                  </a:ext>
                </a:extLst>
              </p:cNvPr>
              <p:cNvSpPr>
                <a:spLocks noEditPoints="1"/>
              </p:cNvSpPr>
              <p:nvPr userDrawn="1"/>
            </p:nvSpPr>
            <p:spPr bwMode="auto">
              <a:xfrm>
                <a:off x="6137497" y="1333086"/>
                <a:ext cx="228289" cy="219867"/>
              </a:xfrm>
              <a:custGeom>
                <a:avLst/>
                <a:gdLst>
                  <a:gd name="T0" fmla="*/ 0 w 525"/>
                  <a:gd name="T1" fmla="*/ 255 h 506"/>
                  <a:gd name="T2" fmla="*/ 0 w 525"/>
                  <a:gd name="T3" fmla="*/ 253 h 506"/>
                  <a:gd name="T4" fmla="*/ 263 w 525"/>
                  <a:gd name="T5" fmla="*/ 0 h 506"/>
                  <a:gd name="T6" fmla="*/ 525 w 525"/>
                  <a:gd name="T7" fmla="*/ 251 h 506"/>
                  <a:gd name="T8" fmla="*/ 525 w 525"/>
                  <a:gd name="T9" fmla="*/ 253 h 506"/>
                  <a:gd name="T10" fmla="*/ 261 w 525"/>
                  <a:gd name="T11" fmla="*/ 506 h 506"/>
                  <a:gd name="T12" fmla="*/ 0 w 525"/>
                  <a:gd name="T13" fmla="*/ 255 h 506"/>
                  <a:gd name="T14" fmla="*/ 389 w 525"/>
                  <a:gd name="T15" fmla="*/ 255 h 506"/>
                  <a:gd name="T16" fmla="*/ 389 w 525"/>
                  <a:gd name="T17" fmla="*/ 253 h 506"/>
                  <a:gd name="T18" fmla="*/ 261 w 525"/>
                  <a:gd name="T19" fmla="*/ 119 h 506"/>
                  <a:gd name="T20" fmla="*/ 135 w 525"/>
                  <a:gd name="T21" fmla="*/ 251 h 506"/>
                  <a:gd name="T22" fmla="*/ 135 w 525"/>
                  <a:gd name="T23" fmla="*/ 253 h 506"/>
                  <a:gd name="T24" fmla="*/ 263 w 525"/>
                  <a:gd name="T25" fmla="*/ 387 h 506"/>
                  <a:gd name="T26" fmla="*/ 389 w 525"/>
                  <a:gd name="T27" fmla="*/ 25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6">
                    <a:moveTo>
                      <a:pt x="0" y="255"/>
                    </a:moveTo>
                    <a:cubicBezTo>
                      <a:pt x="0" y="253"/>
                      <a:pt x="0" y="253"/>
                      <a:pt x="0" y="253"/>
                    </a:cubicBezTo>
                    <a:cubicBezTo>
                      <a:pt x="0" y="114"/>
                      <a:pt x="112" y="0"/>
                      <a:pt x="263" y="0"/>
                    </a:cubicBezTo>
                    <a:cubicBezTo>
                      <a:pt x="413" y="0"/>
                      <a:pt x="525" y="112"/>
                      <a:pt x="525" y="251"/>
                    </a:cubicBezTo>
                    <a:cubicBezTo>
                      <a:pt x="525" y="253"/>
                      <a:pt x="525" y="253"/>
                      <a:pt x="525" y="253"/>
                    </a:cubicBezTo>
                    <a:cubicBezTo>
                      <a:pt x="525" y="392"/>
                      <a:pt x="412" y="506"/>
                      <a:pt x="261" y="506"/>
                    </a:cubicBezTo>
                    <a:cubicBezTo>
                      <a:pt x="111" y="506"/>
                      <a:pt x="0" y="394"/>
                      <a:pt x="0" y="255"/>
                    </a:cubicBezTo>
                    <a:close/>
                    <a:moveTo>
                      <a:pt x="389" y="255"/>
                    </a:moveTo>
                    <a:cubicBezTo>
                      <a:pt x="389" y="253"/>
                      <a:pt x="389" y="253"/>
                      <a:pt x="389" y="253"/>
                    </a:cubicBezTo>
                    <a:cubicBezTo>
                      <a:pt x="389" y="182"/>
                      <a:pt x="337" y="119"/>
                      <a:pt x="261" y="119"/>
                    </a:cubicBezTo>
                    <a:cubicBezTo>
                      <a:pt x="183" y="119"/>
                      <a:pt x="135" y="180"/>
                      <a:pt x="135" y="251"/>
                    </a:cubicBezTo>
                    <a:cubicBezTo>
                      <a:pt x="135" y="253"/>
                      <a:pt x="135" y="253"/>
                      <a:pt x="135" y="253"/>
                    </a:cubicBezTo>
                    <a:cubicBezTo>
                      <a:pt x="135" y="325"/>
                      <a:pt x="187" y="387"/>
                      <a:pt x="263" y="387"/>
                    </a:cubicBezTo>
                    <a:cubicBezTo>
                      <a:pt x="342" y="387"/>
                      <a:pt x="389" y="326"/>
                      <a:pt x="389"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24">
                <a:extLst>
                  <a:ext uri="{FF2B5EF4-FFF2-40B4-BE49-F238E27FC236}">
                    <a16:creationId xmlns:a16="http://schemas.microsoft.com/office/drawing/2014/main" id="{2D545142-881D-002A-830D-2B1960B7F79A}"/>
                  </a:ext>
                </a:extLst>
              </p:cNvPr>
              <p:cNvSpPr>
                <a:spLocks/>
              </p:cNvSpPr>
              <p:nvPr userDrawn="1"/>
            </p:nvSpPr>
            <p:spPr bwMode="auto">
              <a:xfrm>
                <a:off x="6379084" y="1331756"/>
                <a:ext cx="127665" cy="216764"/>
              </a:xfrm>
              <a:custGeom>
                <a:avLst/>
                <a:gdLst>
                  <a:gd name="T0" fmla="*/ 0 w 293"/>
                  <a:gd name="T1" fmla="*/ 13 h 498"/>
                  <a:gd name="T2" fmla="*/ 138 w 293"/>
                  <a:gd name="T3" fmla="*/ 13 h 498"/>
                  <a:gd name="T4" fmla="*/ 138 w 293"/>
                  <a:gd name="T5" fmla="*/ 110 h 498"/>
                  <a:gd name="T6" fmla="*/ 293 w 293"/>
                  <a:gd name="T7" fmla="*/ 3 h 498"/>
                  <a:gd name="T8" fmla="*/ 293 w 293"/>
                  <a:gd name="T9" fmla="*/ 147 h 498"/>
                  <a:gd name="T10" fmla="*/ 286 w 293"/>
                  <a:gd name="T11" fmla="*/ 147 h 498"/>
                  <a:gd name="T12" fmla="*/ 138 w 293"/>
                  <a:gd name="T13" fmla="*/ 318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0"/>
                      <a:pt x="138" y="110"/>
                      <a:pt x="138" y="110"/>
                    </a:cubicBezTo>
                    <a:cubicBezTo>
                      <a:pt x="166" y="43"/>
                      <a:pt x="211" y="0"/>
                      <a:pt x="293" y="3"/>
                    </a:cubicBezTo>
                    <a:cubicBezTo>
                      <a:pt x="293" y="147"/>
                      <a:pt x="293" y="147"/>
                      <a:pt x="293" y="147"/>
                    </a:cubicBezTo>
                    <a:cubicBezTo>
                      <a:pt x="286" y="147"/>
                      <a:pt x="286" y="147"/>
                      <a:pt x="286" y="147"/>
                    </a:cubicBezTo>
                    <a:cubicBezTo>
                      <a:pt x="194" y="147"/>
                      <a:pt x="138" y="203"/>
                      <a:pt x="138" y="318"/>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25">
                <a:extLst>
                  <a:ext uri="{FF2B5EF4-FFF2-40B4-BE49-F238E27FC236}">
                    <a16:creationId xmlns:a16="http://schemas.microsoft.com/office/drawing/2014/main" id="{5C959273-267C-8CBA-996C-EC8514CCD7D2}"/>
                  </a:ext>
                </a:extLst>
              </p:cNvPr>
              <p:cNvSpPr>
                <a:spLocks noEditPoints="1"/>
              </p:cNvSpPr>
              <p:nvPr userDrawn="1"/>
            </p:nvSpPr>
            <p:spPr bwMode="auto">
              <a:xfrm>
                <a:off x="6582993" y="1334859"/>
                <a:ext cx="194157" cy="217207"/>
              </a:xfrm>
              <a:custGeom>
                <a:avLst/>
                <a:gdLst>
                  <a:gd name="T0" fmla="*/ 0 w 446"/>
                  <a:gd name="T1" fmla="*/ 351 h 500"/>
                  <a:gd name="T2" fmla="*/ 0 w 446"/>
                  <a:gd name="T3" fmla="*/ 349 h 500"/>
                  <a:gd name="T4" fmla="*/ 195 w 446"/>
                  <a:gd name="T5" fmla="*/ 195 h 500"/>
                  <a:gd name="T6" fmla="*/ 314 w 446"/>
                  <a:gd name="T7" fmla="*/ 215 h 500"/>
                  <a:gd name="T8" fmla="*/ 314 w 446"/>
                  <a:gd name="T9" fmla="*/ 206 h 500"/>
                  <a:gd name="T10" fmla="*/ 210 w 446"/>
                  <a:gd name="T11" fmla="*/ 118 h 500"/>
                  <a:gd name="T12" fmla="*/ 76 w 446"/>
                  <a:gd name="T13" fmla="*/ 144 h 500"/>
                  <a:gd name="T14" fmla="*/ 42 w 446"/>
                  <a:gd name="T15" fmla="*/ 39 h 500"/>
                  <a:gd name="T16" fmla="*/ 230 w 446"/>
                  <a:gd name="T17" fmla="*/ 0 h 500"/>
                  <a:gd name="T18" fmla="*/ 394 w 446"/>
                  <a:gd name="T19" fmla="*/ 54 h 500"/>
                  <a:gd name="T20" fmla="*/ 446 w 446"/>
                  <a:gd name="T21" fmla="*/ 209 h 500"/>
                  <a:gd name="T22" fmla="*/ 446 w 446"/>
                  <a:gd name="T23" fmla="*/ 491 h 500"/>
                  <a:gd name="T24" fmla="*/ 313 w 446"/>
                  <a:gd name="T25" fmla="*/ 491 h 500"/>
                  <a:gd name="T26" fmla="*/ 313 w 446"/>
                  <a:gd name="T27" fmla="*/ 438 h 500"/>
                  <a:gd name="T28" fmla="*/ 167 w 446"/>
                  <a:gd name="T29" fmla="*/ 500 h 500"/>
                  <a:gd name="T30" fmla="*/ 0 w 446"/>
                  <a:gd name="T31" fmla="*/ 351 h 500"/>
                  <a:gd name="T32" fmla="*/ 316 w 446"/>
                  <a:gd name="T33" fmla="*/ 320 h 500"/>
                  <a:gd name="T34" fmla="*/ 316 w 446"/>
                  <a:gd name="T35" fmla="*/ 295 h 500"/>
                  <a:gd name="T36" fmla="*/ 228 w 446"/>
                  <a:gd name="T37" fmla="*/ 277 h 500"/>
                  <a:gd name="T38" fmla="*/ 133 w 446"/>
                  <a:gd name="T39" fmla="*/ 344 h 500"/>
                  <a:gd name="T40" fmla="*/ 133 w 446"/>
                  <a:gd name="T41" fmla="*/ 346 h 500"/>
                  <a:gd name="T42" fmla="*/ 208 w 446"/>
                  <a:gd name="T43" fmla="*/ 405 h 500"/>
                  <a:gd name="T44" fmla="*/ 316 w 446"/>
                  <a:gd name="T45" fmla="*/ 3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500">
                    <a:moveTo>
                      <a:pt x="0" y="351"/>
                    </a:moveTo>
                    <a:cubicBezTo>
                      <a:pt x="0" y="349"/>
                      <a:pt x="0" y="349"/>
                      <a:pt x="0" y="349"/>
                    </a:cubicBezTo>
                    <a:cubicBezTo>
                      <a:pt x="0" y="244"/>
                      <a:pt x="81" y="195"/>
                      <a:pt x="195" y="195"/>
                    </a:cubicBezTo>
                    <a:cubicBezTo>
                      <a:pt x="244" y="195"/>
                      <a:pt x="280" y="203"/>
                      <a:pt x="314" y="215"/>
                    </a:cubicBezTo>
                    <a:cubicBezTo>
                      <a:pt x="314" y="206"/>
                      <a:pt x="314" y="206"/>
                      <a:pt x="314" y="206"/>
                    </a:cubicBezTo>
                    <a:cubicBezTo>
                      <a:pt x="314" y="149"/>
                      <a:pt x="279" y="118"/>
                      <a:pt x="210" y="118"/>
                    </a:cubicBezTo>
                    <a:cubicBezTo>
                      <a:pt x="157" y="118"/>
                      <a:pt x="120" y="128"/>
                      <a:pt x="76" y="144"/>
                    </a:cubicBezTo>
                    <a:cubicBezTo>
                      <a:pt x="42" y="39"/>
                      <a:pt x="42" y="39"/>
                      <a:pt x="42" y="39"/>
                    </a:cubicBezTo>
                    <a:cubicBezTo>
                      <a:pt x="95" y="15"/>
                      <a:pt x="148" y="0"/>
                      <a:pt x="230" y="0"/>
                    </a:cubicBezTo>
                    <a:cubicBezTo>
                      <a:pt x="305" y="0"/>
                      <a:pt x="359" y="20"/>
                      <a:pt x="394" y="54"/>
                    </a:cubicBezTo>
                    <a:cubicBezTo>
                      <a:pt x="430" y="91"/>
                      <a:pt x="446" y="144"/>
                      <a:pt x="446" y="209"/>
                    </a:cubicBezTo>
                    <a:cubicBezTo>
                      <a:pt x="446" y="491"/>
                      <a:pt x="446" y="491"/>
                      <a:pt x="446" y="491"/>
                    </a:cubicBezTo>
                    <a:cubicBezTo>
                      <a:pt x="313" y="491"/>
                      <a:pt x="313" y="491"/>
                      <a:pt x="313" y="491"/>
                    </a:cubicBezTo>
                    <a:cubicBezTo>
                      <a:pt x="313" y="438"/>
                      <a:pt x="313" y="438"/>
                      <a:pt x="313" y="438"/>
                    </a:cubicBezTo>
                    <a:cubicBezTo>
                      <a:pt x="280" y="475"/>
                      <a:pt x="234" y="500"/>
                      <a:pt x="167" y="500"/>
                    </a:cubicBezTo>
                    <a:cubicBezTo>
                      <a:pt x="75" y="500"/>
                      <a:pt x="0" y="447"/>
                      <a:pt x="0" y="351"/>
                    </a:cubicBezTo>
                    <a:close/>
                    <a:moveTo>
                      <a:pt x="316" y="320"/>
                    </a:moveTo>
                    <a:cubicBezTo>
                      <a:pt x="316" y="295"/>
                      <a:pt x="316" y="295"/>
                      <a:pt x="316" y="295"/>
                    </a:cubicBezTo>
                    <a:cubicBezTo>
                      <a:pt x="292" y="284"/>
                      <a:pt x="262" y="277"/>
                      <a:pt x="228" y="277"/>
                    </a:cubicBezTo>
                    <a:cubicBezTo>
                      <a:pt x="169" y="277"/>
                      <a:pt x="133" y="301"/>
                      <a:pt x="133" y="344"/>
                    </a:cubicBezTo>
                    <a:cubicBezTo>
                      <a:pt x="133" y="346"/>
                      <a:pt x="133" y="346"/>
                      <a:pt x="133" y="346"/>
                    </a:cubicBezTo>
                    <a:cubicBezTo>
                      <a:pt x="133" y="383"/>
                      <a:pt x="164" y="405"/>
                      <a:pt x="208" y="405"/>
                    </a:cubicBezTo>
                    <a:cubicBezTo>
                      <a:pt x="272" y="405"/>
                      <a:pt x="316" y="369"/>
                      <a:pt x="31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26">
                <a:extLst>
                  <a:ext uri="{FF2B5EF4-FFF2-40B4-BE49-F238E27FC236}">
                    <a16:creationId xmlns:a16="http://schemas.microsoft.com/office/drawing/2014/main" id="{2F1B0169-414B-8F53-D204-E4FC9132C39A}"/>
                  </a:ext>
                </a:extLst>
              </p:cNvPr>
              <p:cNvSpPr>
                <a:spLocks noChangeArrowheads="1"/>
              </p:cNvSpPr>
              <p:nvPr userDrawn="1"/>
            </p:nvSpPr>
            <p:spPr bwMode="auto">
              <a:xfrm>
                <a:off x="6801973" y="1260831"/>
                <a:ext cx="59843"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27">
                <a:extLst>
                  <a:ext uri="{FF2B5EF4-FFF2-40B4-BE49-F238E27FC236}">
                    <a16:creationId xmlns:a16="http://schemas.microsoft.com/office/drawing/2014/main" id="{FD3CEF0B-9316-CAAF-B811-7977EA0FDC71}"/>
                  </a:ext>
                </a:extLst>
              </p:cNvPr>
              <p:cNvSpPr>
                <a:spLocks noChangeArrowheads="1"/>
              </p:cNvSpPr>
              <p:nvPr userDrawn="1"/>
            </p:nvSpPr>
            <p:spPr bwMode="auto">
              <a:xfrm>
                <a:off x="6886639" y="1260831"/>
                <a:ext cx="59399"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64" name="Rectangle 28">
              <a:extLst>
                <a:ext uri="{FF2B5EF4-FFF2-40B4-BE49-F238E27FC236}">
                  <a16:creationId xmlns:a16="http://schemas.microsoft.com/office/drawing/2014/main" id="{C44969F7-1BF0-A4FA-F4EB-8003272D98C6}"/>
                </a:ext>
              </a:extLst>
            </p:cNvPr>
            <p:cNvSpPr>
              <a:spLocks noChangeArrowheads="1"/>
            </p:cNvSpPr>
            <p:nvPr userDrawn="1"/>
          </p:nvSpPr>
          <p:spPr bwMode="auto">
            <a:xfrm>
              <a:off x="11556230" y="767096"/>
              <a:ext cx="634181" cy="189869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grpSp>
          <p:nvGrpSpPr>
            <p:cNvPr id="65" name="Group 64">
              <a:extLst>
                <a:ext uri="{FF2B5EF4-FFF2-40B4-BE49-F238E27FC236}">
                  <a16:creationId xmlns:a16="http://schemas.microsoft.com/office/drawing/2014/main" id="{5AB97A83-AA92-5D2A-D89F-2B85130F597F}"/>
                </a:ext>
              </a:extLst>
            </p:cNvPr>
            <p:cNvGrpSpPr/>
            <p:nvPr userDrawn="1"/>
          </p:nvGrpSpPr>
          <p:grpSpPr>
            <a:xfrm>
              <a:off x="11701122" y="936748"/>
              <a:ext cx="321494" cy="1552800"/>
              <a:chOff x="7313961" y="501936"/>
              <a:chExt cx="323594" cy="1566108"/>
            </a:xfrm>
          </p:grpSpPr>
          <p:sp>
            <p:nvSpPr>
              <p:cNvPr id="66" name="Freeform 29">
                <a:extLst>
                  <a:ext uri="{FF2B5EF4-FFF2-40B4-BE49-F238E27FC236}">
                    <a16:creationId xmlns:a16="http://schemas.microsoft.com/office/drawing/2014/main" id="{93913DCE-D7C5-993F-1CBD-D671F4E01A37}"/>
                  </a:ext>
                </a:extLst>
              </p:cNvPr>
              <p:cNvSpPr>
                <a:spLocks/>
              </p:cNvSpPr>
              <p:nvPr userDrawn="1"/>
            </p:nvSpPr>
            <p:spPr bwMode="auto">
              <a:xfrm>
                <a:off x="7383556" y="1311808"/>
                <a:ext cx="249567" cy="247350"/>
              </a:xfrm>
              <a:custGeom>
                <a:avLst/>
                <a:gdLst>
                  <a:gd name="T0" fmla="*/ 0 w 574"/>
                  <a:gd name="T1" fmla="*/ 229 h 569"/>
                  <a:gd name="T2" fmla="*/ 90 w 574"/>
                  <a:gd name="T3" fmla="*/ 413 h 569"/>
                  <a:gd name="T4" fmla="*/ 90 w 574"/>
                  <a:gd name="T5" fmla="*/ 413 h 569"/>
                  <a:gd name="T6" fmla="*/ 90 w 574"/>
                  <a:gd name="T7" fmla="*/ 413 h 569"/>
                  <a:gd name="T8" fmla="*/ 9 w 574"/>
                  <a:gd name="T9" fmla="*/ 413 h 569"/>
                  <a:gd name="T10" fmla="*/ 9 w 574"/>
                  <a:gd name="T11" fmla="*/ 569 h 569"/>
                  <a:gd name="T12" fmla="*/ 574 w 574"/>
                  <a:gd name="T13" fmla="*/ 569 h 569"/>
                  <a:gd name="T14" fmla="*/ 574 w 574"/>
                  <a:gd name="T15" fmla="*/ 413 h 569"/>
                  <a:gd name="T16" fmla="*/ 253 w 574"/>
                  <a:gd name="T17" fmla="*/ 413 h 569"/>
                  <a:gd name="T18" fmla="*/ 133 w 574"/>
                  <a:gd name="T19" fmla="*/ 286 h 569"/>
                  <a:gd name="T20" fmla="*/ 253 w 574"/>
                  <a:gd name="T21" fmla="*/ 155 h 569"/>
                  <a:gd name="T22" fmla="*/ 574 w 574"/>
                  <a:gd name="T23" fmla="*/ 155 h 569"/>
                  <a:gd name="T24" fmla="*/ 574 w 574"/>
                  <a:gd name="T25" fmla="*/ 0 h 569"/>
                  <a:gd name="T26" fmla="*/ 224 w 574"/>
                  <a:gd name="T27" fmla="*/ 0 h 569"/>
                  <a:gd name="T28" fmla="*/ 0 w 574"/>
                  <a:gd name="T29" fmla="*/ 22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569">
                    <a:moveTo>
                      <a:pt x="0" y="229"/>
                    </a:moveTo>
                    <a:cubicBezTo>
                      <a:pt x="0" y="294"/>
                      <a:pt x="30" y="368"/>
                      <a:pt x="90" y="413"/>
                    </a:cubicBezTo>
                    <a:cubicBezTo>
                      <a:pt x="90" y="413"/>
                      <a:pt x="90" y="413"/>
                      <a:pt x="90" y="413"/>
                    </a:cubicBezTo>
                    <a:cubicBezTo>
                      <a:pt x="90" y="413"/>
                      <a:pt x="90" y="413"/>
                      <a:pt x="90" y="413"/>
                    </a:cubicBezTo>
                    <a:cubicBezTo>
                      <a:pt x="9" y="413"/>
                      <a:pt x="9" y="413"/>
                      <a:pt x="9" y="413"/>
                    </a:cubicBezTo>
                    <a:cubicBezTo>
                      <a:pt x="9" y="569"/>
                      <a:pt x="9" y="569"/>
                      <a:pt x="9" y="569"/>
                    </a:cubicBezTo>
                    <a:cubicBezTo>
                      <a:pt x="574" y="569"/>
                      <a:pt x="574" y="569"/>
                      <a:pt x="574" y="569"/>
                    </a:cubicBezTo>
                    <a:cubicBezTo>
                      <a:pt x="574" y="413"/>
                      <a:pt x="574" y="413"/>
                      <a:pt x="574" y="413"/>
                    </a:cubicBezTo>
                    <a:cubicBezTo>
                      <a:pt x="253" y="413"/>
                      <a:pt x="253" y="413"/>
                      <a:pt x="253" y="413"/>
                    </a:cubicBezTo>
                    <a:cubicBezTo>
                      <a:pt x="195" y="413"/>
                      <a:pt x="133" y="369"/>
                      <a:pt x="133" y="286"/>
                    </a:cubicBezTo>
                    <a:cubicBezTo>
                      <a:pt x="133" y="221"/>
                      <a:pt x="178" y="155"/>
                      <a:pt x="253" y="155"/>
                    </a:cubicBezTo>
                    <a:cubicBezTo>
                      <a:pt x="574" y="155"/>
                      <a:pt x="574" y="155"/>
                      <a:pt x="574" y="155"/>
                    </a:cubicBezTo>
                    <a:cubicBezTo>
                      <a:pt x="574" y="0"/>
                      <a:pt x="574" y="0"/>
                      <a:pt x="574" y="0"/>
                    </a:cubicBezTo>
                    <a:cubicBezTo>
                      <a:pt x="224" y="0"/>
                      <a:pt x="224" y="0"/>
                      <a:pt x="224" y="0"/>
                    </a:cubicBezTo>
                    <a:cubicBezTo>
                      <a:pt x="94" y="0"/>
                      <a:pt x="0" y="93"/>
                      <a:pt x="0" y="2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30">
                <a:extLst>
                  <a:ext uri="{FF2B5EF4-FFF2-40B4-BE49-F238E27FC236}">
                    <a16:creationId xmlns:a16="http://schemas.microsoft.com/office/drawing/2014/main" id="{6D0A5711-84F8-6852-FC23-C9222B8AB056}"/>
                  </a:ext>
                </a:extLst>
              </p:cNvPr>
              <p:cNvSpPr>
                <a:spLocks/>
              </p:cNvSpPr>
              <p:nvPr userDrawn="1"/>
            </p:nvSpPr>
            <p:spPr bwMode="auto">
              <a:xfrm>
                <a:off x="7387546" y="755049"/>
                <a:ext cx="245577" cy="276163"/>
              </a:xfrm>
              <a:custGeom>
                <a:avLst/>
                <a:gdLst>
                  <a:gd name="T0" fmla="*/ 0 w 554"/>
                  <a:gd name="T1" fmla="*/ 174 h 623"/>
                  <a:gd name="T2" fmla="*/ 377 w 554"/>
                  <a:gd name="T3" fmla="*/ 311 h 623"/>
                  <a:gd name="T4" fmla="*/ 0 w 554"/>
                  <a:gd name="T5" fmla="*/ 450 h 623"/>
                  <a:gd name="T6" fmla="*/ 0 w 554"/>
                  <a:gd name="T7" fmla="*/ 623 h 623"/>
                  <a:gd name="T8" fmla="*/ 554 w 554"/>
                  <a:gd name="T9" fmla="*/ 395 h 623"/>
                  <a:gd name="T10" fmla="*/ 554 w 554"/>
                  <a:gd name="T11" fmla="*/ 228 h 623"/>
                  <a:gd name="T12" fmla="*/ 0 w 554"/>
                  <a:gd name="T13" fmla="*/ 0 h 623"/>
                  <a:gd name="T14" fmla="*/ 0 w 554"/>
                  <a:gd name="T15" fmla="*/ 174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623">
                    <a:moveTo>
                      <a:pt x="0" y="174"/>
                    </a:moveTo>
                    <a:lnTo>
                      <a:pt x="377" y="311"/>
                    </a:lnTo>
                    <a:lnTo>
                      <a:pt x="0" y="450"/>
                    </a:lnTo>
                    <a:lnTo>
                      <a:pt x="0" y="623"/>
                    </a:lnTo>
                    <a:lnTo>
                      <a:pt x="554" y="395"/>
                    </a:lnTo>
                    <a:lnTo>
                      <a:pt x="554" y="228"/>
                    </a:lnTo>
                    <a:lnTo>
                      <a:pt x="0" y="0"/>
                    </a:lnTo>
                    <a:lnTo>
                      <a:pt x="0"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31">
                <a:extLst>
                  <a:ext uri="{FF2B5EF4-FFF2-40B4-BE49-F238E27FC236}">
                    <a16:creationId xmlns:a16="http://schemas.microsoft.com/office/drawing/2014/main" id="{185085EF-D1B3-20ED-1267-AC7FAB1644FE}"/>
                  </a:ext>
                </a:extLst>
              </p:cNvPr>
              <p:cNvSpPr>
                <a:spLocks noEditPoints="1"/>
              </p:cNvSpPr>
              <p:nvPr userDrawn="1"/>
            </p:nvSpPr>
            <p:spPr bwMode="auto">
              <a:xfrm>
                <a:off x="7383556" y="1583096"/>
                <a:ext cx="253999" cy="256659"/>
              </a:xfrm>
              <a:custGeom>
                <a:avLst/>
                <a:gdLst>
                  <a:gd name="T0" fmla="*/ 401 w 584"/>
                  <a:gd name="T1" fmla="*/ 110 h 590"/>
                  <a:gd name="T2" fmla="*/ 460 w 584"/>
                  <a:gd name="T3" fmla="*/ 272 h 590"/>
                  <a:gd name="T4" fmla="*/ 415 w 584"/>
                  <a:gd name="T5" fmla="*/ 397 h 590"/>
                  <a:gd name="T6" fmla="*/ 250 w 584"/>
                  <a:gd name="T7" fmla="*/ 0 h 590"/>
                  <a:gd name="T8" fmla="*/ 92 w 584"/>
                  <a:gd name="T9" fmla="*/ 68 h 590"/>
                  <a:gd name="T10" fmla="*/ 0 w 584"/>
                  <a:gd name="T11" fmla="*/ 291 h 590"/>
                  <a:gd name="T12" fmla="*/ 292 w 584"/>
                  <a:gd name="T13" fmla="*/ 590 h 590"/>
                  <a:gd name="T14" fmla="*/ 584 w 584"/>
                  <a:gd name="T15" fmla="*/ 274 h 590"/>
                  <a:gd name="T16" fmla="*/ 476 w 584"/>
                  <a:gd name="T17" fmla="*/ 12 h 590"/>
                  <a:gd name="T18" fmla="*/ 401 w 584"/>
                  <a:gd name="T19" fmla="*/ 110 h 590"/>
                  <a:gd name="T20" fmla="*/ 179 w 584"/>
                  <a:gd name="T21" fmla="*/ 408 h 590"/>
                  <a:gd name="T22" fmla="*/ 123 w 584"/>
                  <a:gd name="T23" fmla="*/ 288 h 590"/>
                  <a:gd name="T24" fmla="*/ 202 w 584"/>
                  <a:gd name="T25" fmla="*/ 168 h 590"/>
                  <a:gd name="T26" fmla="*/ 315 w 584"/>
                  <a:gd name="T27" fmla="*/ 439 h 590"/>
                  <a:gd name="T28" fmla="*/ 179 w 584"/>
                  <a:gd name="T29" fmla="*/ 40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4" h="590">
                    <a:moveTo>
                      <a:pt x="401" y="110"/>
                    </a:moveTo>
                    <a:cubicBezTo>
                      <a:pt x="449" y="175"/>
                      <a:pt x="460" y="212"/>
                      <a:pt x="460" y="272"/>
                    </a:cubicBezTo>
                    <a:cubicBezTo>
                      <a:pt x="460" y="325"/>
                      <a:pt x="444" y="367"/>
                      <a:pt x="415" y="397"/>
                    </a:cubicBezTo>
                    <a:cubicBezTo>
                      <a:pt x="250" y="0"/>
                      <a:pt x="250" y="0"/>
                      <a:pt x="250" y="0"/>
                    </a:cubicBezTo>
                    <a:cubicBezTo>
                      <a:pt x="189" y="9"/>
                      <a:pt x="134" y="32"/>
                      <a:pt x="92" y="68"/>
                    </a:cubicBezTo>
                    <a:cubicBezTo>
                      <a:pt x="32" y="120"/>
                      <a:pt x="0" y="197"/>
                      <a:pt x="0" y="291"/>
                    </a:cubicBezTo>
                    <a:cubicBezTo>
                      <a:pt x="0" y="462"/>
                      <a:pt x="126" y="590"/>
                      <a:pt x="292" y="590"/>
                    </a:cubicBezTo>
                    <a:cubicBezTo>
                      <a:pt x="462" y="590"/>
                      <a:pt x="584" y="462"/>
                      <a:pt x="584" y="274"/>
                    </a:cubicBezTo>
                    <a:cubicBezTo>
                      <a:pt x="584" y="169"/>
                      <a:pt x="534" y="62"/>
                      <a:pt x="476" y="12"/>
                    </a:cubicBezTo>
                    <a:lnTo>
                      <a:pt x="401" y="110"/>
                    </a:lnTo>
                    <a:close/>
                    <a:moveTo>
                      <a:pt x="179" y="408"/>
                    </a:moveTo>
                    <a:cubicBezTo>
                      <a:pt x="144" y="381"/>
                      <a:pt x="123" y="339"/>
                      <a:pt x="123" y="288"/>
                    </a:cubicBezTo>
                    <a:cubicBezTo>
                      <a:pt x="123" y="232"/>
                      <a:pt x="155" y="190"/>
                      <a:pt x="202" y="168"/>
                    </a:cubicBezTo>
                    <a:cubicBezTo>
                      <a:pt x="315" y="439"/>
                      <a:pt x="315" y="439"/>
                      <a:pt x="315" y="439"/>
                    </a:cubicBezTo>
                    <a:cubicBezTo>
                      <a:pt x="257" y="447"/>
                      <a:pt x="212" y="432"/>
                      <a:pt x="179" y="4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32">
                <a:extLst>
                  <a:ext uri="{FF2B5EF4-FFF2-40B4-BE49-F238E27FC236}">
                    <a16:creationId xmlns:a16="http://schemas.microsoft.com/office/drawing/2014/main" id="{8434C32D-C325-1F32-5E19-6C9FC933AC3B}"/>
                  </a:ext>
                </a:extLst>
              </p:cNvPr>
              <p:cNvSpPr>
                <a:spLocks/>
              </p:cNvSpPr>
              <p:nvPr userDrawn="1"/>
            </p:nvSpPr>
            <p:spPr bwMode="auto">
              <a:xfrm>
                <a:off x="7313961" y="1846404"/>
                <a:ext cx="319161" cy="221640"/>
              </a:xfrm>
              <a:custGeom>
                <a:avLst/>
                <a:gdLst>
                  <a:gd name="T0" fmla="*/ 580 w 720"/>
                  <a:gd name="T1" fmla="*/ 0 h 500"/>
                  <a:gd name="T2" fmla="*/ 580 w 720"/>
                  <a:gd name="T3" fmla="*/ 346 h 500"/>
                  <a:gd name="T4" fmla="*/ 0 w 720"/>
                  <a:gd name="T5" fmla="*/ 346 h 500"/>
                  <a:gd name="T6" fmla="*/ 0 w 720"/>
                  <a:gd name="T7" fmla="*/ 500 h 500"/>
                  <a:gd name="T8" fmla="*/ 720 w 720"/>
                  <a:gd name="T9" fmla="*/ 500 h 500"/>
                  <a:gd name="T10" fmla="*/ 720 w 720"/>
                  <a:gd name="T11" fmla="*/ 0 h 500"/>
                  <a:gd name="T12" fmla="*/ 580 w 720"/>
                  <a:gd name="T13" fmla="*/ 0 h 500"/>
                </a:gdLst>
                <a:ahLst/>
                <a:cxnLst>
                  <a:cxn ang="0">
                    <a:pos x="T0" y="T1"/>
                  </a:cxn>
                  <a:cxn ang="0">
                    <a:pos x="T2" y="T3"/>
                  </a:cxn>
                  <a:cxn ang="0">
                    <a:pos x="T4" y="T5"/>
                  </a:cxn>
                  <a:cxn ang="0">
                    <a:pos x="T6" y="T7"/>
                  </a:cxn>
                  <a:cxn ang="0">
                    <a:pos x="T8" y="T9"/>
                  </a:cxn>
                  <a:cxn ang="0">
                    <a:pos x="T10" y="T11"/>
                  </a:cxn>
                  <a:cxn ang="0">
                    <a:pos x="T12" y="T13"/>
                  </a:cxn>
                </a:cxnLst>
                <a:rect l="0" t="0" r="r" b="b"/>
                <a:pathLst>
                  <a:path w="720" h="500">
                    <a:moveTo>
                      <a:pt x="580" y="0"/>
                    </a:moveTo>
                    <a:lnTo>
                      <a:pt x="580" y="346"/>
                    </a:lnTo>
                    <a:lnTo>
                      <a:pt x="0" y="346"/>
                    </a:lnTo>
                    <a:lnTo>
                      <a:pt x="0" y="500"/>
                    </a:lnTo>
                    <a:lnTo>
                      <a:pt x="720" y="500"/>
                    </a:lnTo>
                    <a:lnTo>
                      <a:pt x="720" y="0"/>
                    </a:lnTo>
                    <a:lnTo>
                      <a:pt x="5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33">
                <a:extLst>
                  <a:ext uri="{FF2B5EF4-FFF2-40B4-BE49-F238E27FC236}">
                    <a16:creationId xmlns:a16="http://schemas.microsoft.com/office/drawing/2014/main" id="{A281B950-B57F-4814-65C4-87F843CA0E1C}"/>
                  </a:ext>
                </a:extLst>
              </p:cNvPr>
              <p:cNvSpPr>
                <a:spLocks noEditPoints="1"/>
              </p:cNvSpPr>
              <p:nvPr userDrawn="1"/>
            </p:nvSpPr>
            <p:spPr bwMode="auto">
              <a:xfrm>
                <a:off x="7383556" y="501936"/>
                <a:ext cx="253999" cy="263752"/>
              </a:xfrm>
              <a:custGeom>
                <a:avLst/>
                <a:gdLst>
                  <a:gd name="T0" fmla="*/ 584 w 584"/>
                  <a:gd name="T1" fmla="*/ 304 h 607"/>
                  <a:gd name="T2" fmla="*/ 292 w 584"/>
                  <a:gd name="T3" fmla="*/ 607 h 607"/>
                  <a:gd name="T4" fmla="*/ 0 w 584"/>
                  <a:gd name="T5" fmla="*/ 302 h 607"/>
                  <a:gd name="T6" fmla="*/ 292 w 584"/>
                  <a:gd name="T7" fmla="*/ 0 h 607"/>
                  <a:gd name="T8" fmla="*/ 584 w 584"/>
                  <a:gd name="T9" fmla="*/ 304 h 607"/>
                  <a:gd name="T10" fmla="*/ 133 w 584"/>
                  <a:gd name="T11" fmla="*/ 304 h 607"/>
                  <a:gd name="T12" fmla="*/ 292 w 584"/>
                  <a:gd name="T13" fmla="*/ 454 h 607"/>
                  <a:gd name="T14" fmla="*/ 451 w 584"/>
                  <a:gd name="T15" fmla="*/ 302 h 607"/>
                  <a:gd name="T16" fmla="*/ 292 w 584"/>
                  <a:gd name="T17" fmla="*/ 153 h 607"/>
                  <a:gd name="T18" fmla="*/ 133 w 584"/>
                  <a:gd name="T19" fmla="*/ 30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4"/>
                    </a:moveTo>
                    <a:cubicBezTo>
                      <a:pt x="584" y="474"/>
                      <a:pt x="457" y="607"/>
                      <a:pt x="292" y="607"/>
                    </a:cubicBezTo>
                    <a:cubicBezTo>
                      <a:pt x="128" y="607"/>
                      <a:pt x="0" y="473"/>
                      <a:pt x="0" y="302"/>
                    </a:cubicBezTo>
                    <a:cubicBezTo>
                      <a:pt x="0" y="133"/>
                      <a:pt x="126" y="0"/>
                      <a:pt x="292" y="0"/>
                    </a:cubicBezTo>
                    <a:cubicBezTo>
                      <a:pt x="455" y="0"/>
                      <a:pt x="584" y="133"/>
                      <a:pt x="584" y="304"/>
                    </a:cubicBezTo>
                    <a:moveTo>
                      <a:pt x="133" y="304"/>
                    </a:moveTo>
                    <a:cubicBezTo>
                      <a:pt x="133" y="391"/>
                      <a:pt x="198" y="454"/>
                      <a:pt x="292" y="454"/>
                    </a:cubicBezTo>
                    <a:cubicBezTo>
                      <a:pt x="381" y="454"/>
                      <a:pt x="451" y="387"/>
                      <a:pt x="451" y="302"/>
                    </a:cubicBezTo>
                    <a:cubicBezTo>
                      <a:pt x="451" y="216"/>
                      <a:pt x="383" y="153"/>
                      <a:pt x="292" y="153"/>
                    </a:cubicBezTo>
                    <a:cubicBezTo>
                      <a:pt x="203" y="153"/>
                      <a:pt x="133" y="219"/>
                      <a:pt x="133" y="3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34">
                <a:extLst>
                  <a:ext uri="{FF2B5EF4-FFF2-40B4-BE49-F238E27FC236}">
                    <a16:creationId xmlns:a16="http://schemas.microsoft.com/office/drawing/2014/main" id="{EE465ED6-53DE-A385-42CB-0B5A75477346}"/>
                  </a:ext>
                </a:extLst>
              </p:cNvPr>
              <p:cNvSpPr>
                <a:spLocks noEditPoints="1"/>
              </p:cNvSpPr>
              <p:nvPr userDrawn="1"/>
            </p:nvSpPr>
            <p:spPr bwMode="auto">
              <a:xfrm>
                <a:off x="7383556" y="1021017"/>
                <a:ext cx="253999" cy="263752"/>
              </a:xfrm>
              <a:custGeom>
                <a:avLst/>
                <a:gdLst>
                  <a:gd name="T0" fmla="*/ 584 w 584"/>
                  <a:gd name="T1" fmla="*/ 305 h 607"/>
                  <a:gd name="T2" fmla="*/ 292 w 584"/>
                  <a:gd name="T3" fmla="*/ 607 h 607"/>
                  <a:gd name="T4" fmla="*/ 0 w 584"/>
                  <a:gd name="T5" fmla="*/ 303 h 607"/>
                  <a:gd name="T6" fmla="*/ 292 w 584"/>
                  <a:gd name="T7" fmla="*/ 0 h 607"/>
                  <a:gd name="T8" fmla="*/ 584 w 584"/>
                  <a:gd name="T9" fmla="*/ 305 h 607"/>
                  <a:gd name="T10" fmla="*/ 133 w 584"/>
                  <a:gd name="T11" fmla="*/ 305 h 607"/>
                  <a:gd name="T12" fmla="*/ 292 w 584"/>
                  <a:gd name="T13" fmla="*/ 454 h 607"/>
                  <a:gd name="T14" fmla="*/ 451 w 584"/>
                  <a:gd name="T15" fmla="*/ 303 h 607"/>
                  <a:gd name="T16" fmla="*/ 292 w 584"/>
                  <a:gd name="T17" fmla="*/ 153 h 607"/>
                  <a:gd name="T18" fmla="*/ 133 w 584"/>
                  <a:gd name="T19" fmla="*/ 3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5"/>
                    </a:moveTo>
                    <a:cubicBezTo>
                      <a:pt x="584" y="474"/>
                      <a:pt x="457" y="607"/>
                      <a:pt x="292" y="607"/>
                    </a:cubicBezTo>
                    <a:cubicBezTo>
                      <a:pt x="128" y="607"/>
                      <a:pt x="0" y="474"/>
                      <a:pt x="0" y="303"/>
                    </a:cubicBezTo>
                    <a:cubicBezTo>
                      <a:pt x="0" y="133"/>
                      <a:pt x="126" y="0"/>
                      <a:pt x="292" y="0"/>
                    </a:cubicBezTo>
                    <a:cubicBezTo>
                      <a:pt x="455" y="0"/>
                      <a:pt x="584" y="134"/>
                      <a:pt x="584" y="305"/>
                    </a:cubicBezTo>
                    <a:moveTo>
                      <a:pt x="133" y="305"/>
                    </a:moveTo>
                    <a:cubicBezTo>
                      <a:pt x="133" y="391"/>
                      <a:pt x="198" y="454"/>
                      <a:pt x="292" y="454"/>
                    </a:cubicBezTo>
                    <a:cubicBezTo>
                      <a:pt x="381" y="454"/>
                      <a:pt x="451" y="388"/>
                      <a:pt x="451" y="303"/>
                    </a:cubicBezTo>
                    <a:cubicBezTo>
                      <a:pt x="451" y="216"/>
                      <a:pt x="383" y="153"/>
                      <a:pt x="292" y="153"/>
                    </a:cubicBezTo>
                    <a:cubicBezTo>
                      <a:pt x="203" y="153"/>
                      <a:pt x="133" y="220"/>
                      <a:pt x="133" y="3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42" name="Group 41">
            <a:extLst>
              <a:ext uri="{FF2B5EF4-FFF2-40B4-BE49-F238E27FC236}">
                <a16:creationId xmlns:a16="http://schemas.microsoft.com/office/drawing/2014/main" id="{320E6808-E70B-FA4B-99F6-1C02BBC16598}"/>
              </a:ext>
            </a:extLst>
          </p:cNvPr>
          <p:cNvGrpSpPr/>
          <p:nvPr userDrawn="1"/>
        </p:nvGrpSpPr>
        <p:grpSpPr>
          <a:xfrm>
            <a:off x="1539348" y="3561908"/>
            <a:ext cx="7853422" cy="1769127"/>
            <a:chOff x="541049" y="2649538"/>
            <a:chExt cx="9285724" cy="2092325"/>
          </a:xfrm>
          <a:solidFill>
            <a:schemeClr val="bg1"/>
          </a:solidFill>
        </p:grpSpPr>
        <p:sp>
          <p:nvSpPr>
            <p:cNvPr id="43" name="Freeform 5">
              <a:extLst>
                <a:ext uri="{FF2B5EF4-FFF2-40B4-BE49-F238E27FC236}">
                  <a16:creationId xmlns:a16="http://schemas.microsoft.com/office/drawing/2014/main" id="{4C297CEF-136F-B1B7-09B1-55E4D7563FDB}"/>
                </a:ext>
              </a:extLst>
            </p:cNvPr>
            <p:cNvSpPr>
              <a:spLocks/>
            </p:cNvSpPr>
            <p:nvPr userDrawn="1"/>
          </p:nvSpPr>
          <p:spPr bwMode="auto">
            <a:xfrm>
              <a:off x="541049" y="2809876"/>
              <a:ext cx="963613" cy="1928813"/>
            </a:xfrm>
            <a:custGeom>
              <a:avLst/>
              <a:gdLst>
                <a:gd name="T0" fmla="*/ 57 w 301"/>
                <a:gd name="T1" fmla="*/ 458 h 600"/>
                <a:gd name="T2" fmla="*/ 57 w 301"/>
                <a:gd name="T3" fmla="*/ 235 h 600"/>
                <a:gd name="T4" fmla="*/ 0 w 301"/>
                <a:gd name="T5" fmla="*/ 235 h 600"/>
                <a:gd name="T6" fmla="*/ 0 w 301"/>
                <a:gd name="T7" fmla="*/ 121 h 600"/>
                <a:gd name="T8" fmla="*/ 57 w 301"/>
                <a:gd name="T9" fmla="*/ 121 h 600"/>
                <a:gd name="T10" fmla="*/ 57 w 301"/>
                <a:gd name="T11" fmla="*/ 0 h 600"/>
                <a:gd name="T12" fmla="*/ 190 w 301"/>
                <a:gd name="T13" fmla="*/ 0 h 600"/>
                <a:gd name="T14" fmla="*/ 190 w 301"/>
                <a:gd name="T15" fmla="*/ 121 h 600"/>
                <a:gd name="T16" fmla="*/ 301 w 301"/>
                <a:gd name="T17" fmla="*/ 121 h 600"/>
                <a:gd name="T18" fmla="*/ 301 w 301"/>
                <a:gd name="T19" fmla="*/ 235 h 600"/>
                <a:gd name="T20" fmla="*/ 190 w 301"/>
                <a:gd name="T21" fmla="*/ 235 h 600"/>
                <a:gd name="T22" fmla="*/ 190 w 301"/>
                <a:gd name="T23" fmla="*/ 436 h 600"/>
                <a:gd name="T24" fmla="*/ 233 w 301"/>
                <a:gd name="T25" fmla="*/ 482 h 600"/>
                <a:gd name="T26" fmla="*/ 299 w 301"/>
                <a:gd name="T27" fmla="*/ 465 h 600"/>
                <a:gd name="T28" fmla="*/ 299 w 301"/>
                <a:gd name="T29" fmla="*/ 573 h 600"/>
                <a:gd name="T30" fmla="*/ 194 w 301"/>
                <a:gd name="T31" fmla="*/ 600 h 600"/>
                <a:gd name="T32" fmla="*/ 57 w 301"/>
                <a:gd name="T33" fmla="*/ 45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600">
                  <a:moveTo>
                    <a:pt x="57" y="458"/>
                  </a:moveTo>
                  <a:cubicBezTo>
                    <a:pt x="57" y="235"/>
                    <a:pt x="57" y="235"/>
                    <a:pt x="57" y="235"/>
                  </a:cubicBezTo>
                  <a:cubicBezTo>
                    <a:pt x="0" y="235"/>
                    <a:pt x="0" y="235"/>
                    <a:pt x="0" y="235"/>
                  </a:cubicBezTo>
                  <a:cubicBezTo>
                    <a:pt x="0" y="121"/>
                    <a:pt x="0" y="121"/>
                    <a:pt x="0" y="121"/>
                  </a:cubicBezTo>
                  <a:cubicBezTo>
                    <a:pt x="57" y="121"/>
                    <a:pt x="57" y="121"/>
                    <a:pt x="57" y="121"/>
                  </a:cubicBezTo>
                  <a:cubicBezTo>
                    <a:pt x="57" y="0"/>
                    <a:pt x="57" y="0"/>
                    <a:pt x="57" y="0"/>
                  </a:cubicBezTo>
                  <a:cubicBezTo>
                    <a:pt x="190" y="0"/>
                    <a:pt x="190" y="0"/>
                    <a:pt x="190" y="0"/>
                  </a:cubicBezTo>
                  <a:cubicBezTo>
                    <a:pt x="190" y="121"/>
                    <a:pt x="190" y="121"/>
                    <a:pt x="190" y="121"/>
                  </a:cubicBezTo>
                  <a:cubicBezTo>
                    <a:pt x="301" y="121"/>
                    <a:pt x="301" y="121"/>
                    <a:pt x="301" y="121"/>
                  </a:cubicBezTo>
                  <a:cubicBezTo>
                    <a:pt x="301" y="235"/>
                    <a:pt x="301" y="235"/>
                    <a:pt x="301" y="235"/>
                  </a:cubicBezTo>
                  <a:cubicBezTo>
                    <a:pt x="190" y="235"/>
                    <a:pt x="190" y="235"/>
                    <a:pt x="190" y="235"/>
                  </a:cubicBezTo>
                  <a:cubicBezTo>
                    <a:pt x="190" y="436"/>
                    <a:pt x="190" y="436"/>
                    <a:pt x="190" y="436"/>
                  </a:cubicBezTo>
                  <a:cubicBezTo>
                    <a:pt x="190" y="467"/>
                    <a:pt x="203" y="482"/>
                    <a:pt x="233" y="482"/>
                  </a:cubicBezTo>
                  <a:cubicBezTo>
                    <a:pt x="258" y="482"/>
                    <a:pt x="280" y="476"/>
                    <a:pt x="299" y="465"/>
                  </a:cubicBezTo>
                  <a:cubicBezTo>
                    <a:pt x="299" y="573"/>
                    <a:pt x="299" y="573"/>
                    <a:pt x="299" y="573"/>
                  </a:cubicBezTo>
                  <a:cubicBezTo>
                    <a:pt x="271" y="590"/>
                    <a:pt x="239" y="600"/>
                    <a:pt x="194" y="600"/>
                  </a:cubicBezTo>
                  <a:cubicBezTo>
                    <a:pt x="112" y="600"/>
                    <a:pt x="57" y="568"/>
                    <a:pt x="57"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6">
              <a:extLst>
                <a:ext uri="{FF2B5EF4-FFF2-40B4-BE49-F238E27FC236}">
                  <a16:creationId xmlns:a16="http://schemas.microsoft.com/office/drawing/2014/main" id="{622BAF6B-1742-15FD-B0EB-40B8C3DC1168}"/>
                </a:ext>
              </a:extLst>
            </p:cNvPr>
            <p:cNvSpPr>
              <a:spLocks/>
            </p:cNvSpPr>
            <p:nvPr userDrawn="1"/>
          </p:nvSpPr>
          <p:spPr bwMode="auto">
            <a:xfrm>
              <a:off x="1708151" y="2649538"/>
              <a:ext cx="1382713" cy="2063750"/>
            </a:xfrm>
            <a:custGeom>
              <a:avLst/>
              <a:gdLst>
                <a:gd name="T0" fmla="*/ 0 w 432"/>
                <a:gd name="T1" fmla="*/ 0 h 642"/>
                <a:gd name="T2" fmla="*/ 134 w 432"/>
                <a:gd name="T3" fmla="*/ 0 h 642"/>
                <a:gd name="T4" fmla="*/ 134 w 432"/>
                <a:gd name="T5" fmla="*/ 237 h 642"/>
                <a:gd name="T6" fmla="*/ 272 w 432"/>
                <a:gd name="T7" fmla="*/ 162 h 642"/>
                <a:gd name="T8" fmla="*/ 432 w 432"/>
                <a:gd name="T9" fmla="*/ 337 h 642"/>
                <a:gd name="T10" fmla="*/ 432 w 432"/>
                <a:gd name="T11" fmla="*/ 642 h 642"/>
                <a:gd name="T12" fmla="*/ 298 w 432"/>
                <a:gd name="T13" fmla="*/ 642 h 642"/>
                <a:gd name="T14" fmla="*/ 298 w 432"/>
                <a:gd name="T15" fmla="*/ 379 h 642"/>
                <a:gd name="T16" fmla="*/ 218 w 432"/>
                <a:gd name="T17" fmla="*/ 283 h 642"/>
                <a:gd name="T18" fmla="*/ 134 w 432"/>
                <a:gd name="T19" fmla="*/ 379 h 642"/>
                <a:gd name="T20" fmla="*/ 134 w 432"/>
                <a:gd name="T21" fmla="*/ 642 h 642"/>
                <a:gd name="T22" fmla="*/ 0 w 432"/>
                <a:gd name="T23" fmla="*/ 642 h 642"/>
                <a:gd name="T24" fmla="*/ 0 w 432"/>
                <a:gd name="T25"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642">
                  <a:moveTo>
                    <a:pt x="0" y="0"/>
                  </a:moveTo>
                  <a:cubicBezTo>
                    <a:pt x="134" y="0"/>
                    <a:pt x="134" y="0"/>
                    <a:pt x="134" y="0"/>
                  </a:cubicBezTo>
                  <a:cubicBezTo>
                    <a:pt x="134" y="237"/>
                    <a:pt x="134" y="237"/>
                    <a:pt x="134" y="237"/>
                  </a:cubicBezTo>
                  <a:cubicBezTo>
                    <a:pt x="165" y="198"/>
                    <a:pt x="204" y="162"/>
                    <a:pt x="272" y="162"/>
                  </a:cubicBezTo>
                  <a:cubicBezTo>
                    <a:pt x="373" y="162"/>
                    <a:pt x="432" y="229"/>
                    <a:pt x="432" y="337"/>
                  </a:cubicBezTo>
                  <a:cubicBezTo>
                    <a:pt x="432" y="642"/>
                    <a:pt x="432" y="642"/>
                    <a:pt x="432" y="642"/>
                  </a:cubicBezTo>
                  <a:cubicBezTo>
                    <a:pt x="298" y="642"/>
                    <a:pt x="298" y="642"/>
                    <a:pt x="298" y="642"/>
                  </a:cubicBezTo>
                  <a:cubicBezTo>
                    <a:pt x="298" y="379"/>
                    <a:pt x="298" y="379"/>
                    <a:pt x="298" y="379"/>
                  </a:cubicBezTo>
                  <a:cubicBezTo>
                    <a:pt x="298" y="316"/>
                    <a:pt x="269" y="283"/>
                    <a:pt x="218" y="283"/>
                  </a:cubicBezTo>
                  <a:cubicBezTo>
                    <a:pt x="166" y="283"/>
                    <a:pt x="134" y="316"/>
                    <a:pt x="134" y="379"/>
                  </a:cubicBezTo>
                  <a:cubicBezTo>
                    <a:pt x="134" y="642"/>
                    <a:pt x="134" y="642"/>
                    <a:pt x="134" y="642"/>
                  </a:cubicBezTo>
                  <a:cubicBezTo>
                    <a:pt x="0" y="642"/>
                    <a:pt x="0" y="642"/>
                    <a:pt x="0" y="64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7">
              <a:extLst>
                <a:ext uri="{FF2B5EF4-FFF2-40B4-BE49-F238E27FC236}">
                  <a16:creationId xmlns:a16="http://schemas.microsoft.com/office/drawing/2014/main" id="{788B3367-A4C9-CCD9-A688-1D2826A4B010}"/>
                </a:ext>
              </a:extLst>
            </p:cNvPr>
            <p:cNvSpPr>
              <a:spLocks noEditPoints="1"/>
            </p:cNvSpPr>
            <p:nvPr userDrawn="1"/>
          </p:nvSpPr>
          <p:spPr bwMode="auto">
            <a:xfrm>
              <a:off x="3261304" y="3179763"/>
              <a:ext cx="1390650" cy="1562100"/>
            </a:xfrm>
            <a:custGeom>
              <a:avLst/>
              <a:gdLst>
                <a:gd name="T0" fmla="*/ 0 w 434"/>
                <a:gd name="T1" fmla="*/ 342 h 486"/>
                <a:gd name="T2" fmla="*/ 0 w 434"/>
                <a:gd name="T3" fmla="*/ 340 h 486"/>
                <a:gd name="T4" fmla="*/ 190 w 434"/>
                <a:gd name="T5" fmla="*/ 189 h 486"/>
                <a:gd name="T6" fmla="*/ 305 w 434"/>
                <a:gd name="T7" fmla="*/ 209 h 486"/>
                <a:gd name="T8" fmla="*/ 305 w 434"/>
                <a:gd name="T9" fmla="*/ 201 h 486"/>
                <a:gd name="T10" fmla="*/ 204 w 434"/>
                <a:gd name="T11" fmla="*/ 115 h 486"/>
                <a:gd name="T12" fmla="*/ 74 w 434"/>
                <a:gd name="T13" fmla="*/ 140 h 486"/>
                <a:gd name="T14" fmla="*/ 40 w 434"/>
                <a:gd name="T15" fmla="*/ 38 h 486"/>
                <a:gd name="T16" fmla="*/ 223 w 434"/>
                <a:gd name="T17" fmla="*/ 0 h 486"/>
                <a:gd name="T18" fmla="*/ 383 w 434"/>
                <a:gd name="T19" fmla="*/ 53 h 486"/>
                <a:gd name="T20" fmla="*/ 434 w 434"/>
                <a:gd name="T21" fmla="*/ 204 h 486"/>
                <a:gd name="T22" fmla="*/ 434 w 434"/>
                <a:gd name="T23" fmla="*/ 477 h 486"/>
                <a:gd name="T24" fmla="*/ 304 w 434"/>
                <a:gd name="T25" fmla="*/ 477 h 486"/>
                <a:gd name="T26" fmla="*/ 304 w 434"/>
                <a:gd name="T27" fmla="*/ 426 h 486"/>
                <a:gd name="T28" fmla="*/ 162 w 434"/>
                <a:gd name="T29" fmla="*/ 486 h 486"/>
                <a:gd name="T30" fmla="*/ 0 w 434"/>
                <a:gd name="T31" fmla="*/ 342 h 486"/>
                <a:gd name="T32" fmla="*/ 307 w 434"/>
                <a:gd name="T33" fmla="*/ 311 h 486"/>
                <a:gd name="T34" fmla="*/ 307 w 434"/>
                <a:gd name="T35" fmla="*/ 287 h 486"/>
                <a:gd name="T36" fmla="*/ 222 w 434"/>
                <a:gd name="T37" fmla="*/ 270 h 486"/>
                <a:gd name="T38" fmla="*/ 129 w 434"/>
                <a:gd name="T39" fmla="*/ 335 h 486"/>
                <a:gd name="T40" fmla="*/ 129 w 434"/>
                <a:gd name="T41" fmla="*/ 336 h 486"/>
                <a:gd name="T42" fmla="*/ 202 w 434"/>
                <a:gd name="T43" fmla="*/ 394 h 486"/>
                <a:gd name="T44" fmla="*/ 307 w 434"/>
                <a:gd name="T45" fmla="*/ 31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4" h="486">
                  <a:moveTo>
                    <a:pt x="0" y="342"/>
                  </a:moveTo>
                  <a:cubicBezTo>
                    <a:pt x="0" y="340"/>
                    <a:pt x="0" y="340"/>
                    <a:pt x="0" y="340"/>
                  </a:cubicBezTo>
                  <a:cubicBezTo>
                    <a:pt x="0" y="237"/>
                    <a:pt x="78" y="189"/>
                    <a:pt x="190" y="189"/>
                  </a:cubicBezTo>
                  <a:cubicBezTo>
                    <a:pt x="237" y="189"/>
                    <a:pt x="272" y="197"/>
                    <a:pt x="305" y="209"/>
                  </a:cubicBezTo>
                  <a:cubicBezTo>
                    <a:pt x="305" y="201"/>
                    <a:pt x="305" y="201"/>
                    <a:pt x="305" y="201"/>
                  </a:cubicBezTo>
                  <a:cubicBezTo>
                    <a:pt x="305" y="145"/>
                    <a:pt x="271" y="115"/>
                    <a:pt x="204" y="115"/>
                  </a:cubicBezTo>
                  <a:cubicBezTo>
                    <a:pt x="153" y="115"/>
                    <a:pt x="117" y="124"/>
                    <a:pt x="74" y="140"/>
                  </a:cubicBezTo>
                  <a:cubicBezTo>
                    <a:pt x="40" y="38"/>
                    <a:pt x="40" y="38"/>
                    <a:pt x="40" y="38"/>
                  </a:cubicBezTo>
                  <a:cubicBezTo>
                    <a:pt x="92" y="15"/>
                    <a:pt x="143" y="0"/>
                    <a:pt x="223" y="0"/>
                  </a:cubicBezTo>
                  <a:cubicBezTo>
                    <a:pt x="296" y="0"/>
                    <a:pt x="349" y="20"/>
                    <a:pt x="383" y="53"/>
                  </a:cubicBezTo>
                  <a:cubicBezTo>
                    <a:pt x="418" y="88"/>
                    <a:pt x="434" y="140"/>
                    <a:pt x="434" y="204"/>
                  </a:cubicBezTo>
                  <a:cubicBezTo>
                    <a:pt x="434" y="477"/>
                    <a:pt x="434" y="477"/>
                    <a:pt x="434" y="477"/>
                  </a:cubicBezTo>
                  <a:cubicBezTo>
                    <a:pt x="304" y="477"/>
                    <a:pt x="304" y="477"/>
                    <a:pt x="304" y="477"/>
                  </a:cubicBezTo>
                  <a:cubicBezTo>
                    <a:pt x="304" y="426"/>
                    <a:pt x="304" y="426"/>
                    <a:pt x="304" y="426"/>
                  </a:cubicBezTo>
                  <a:cubicBezTo>
                    <a:pt x="272" y="462"/>
                    <a:pt x="227" y="486"/>
                    <a:pt x="162" y="486"/>
                  </a:cubicBezTo>
                  <a:cubicBezTo>
                    <a:pt x="73" y="486"/>
                    <a:pt x="0" y="435"/>
                    <a:pt x="0" y="342"/>
                  </a:cubicBezTo>
                  <a:close/>
                  <a:moveTo>
                    <a:pt x="307" y="311"/>
                  </a:moveTo>
                  <a:cubicBezTo>
                    <a:pt x="307" y="287"/>
                    <a:pt x="307" y="287"/>
                    <a:pt x="307" y="287"/>
                  </a:cubicBezTo>
                  <a:cubicBezTo>
                    <a:pt x="284" y="277"/>
                    <a:pt x="254" y="270"/>
                    <a:pt x="222" y="270"/>
                  </a:cubicBezTo>
                  <a:cubicBezTo>
                    <a:pt x="164" y="270"/>
                    <a:pt x="129" y="292"/>
                    <a:pt x="129" y="335"/>
                  </a:cubicBezTo>
                  <a:cubicBezTo>
                    <a:pt x="129" y="336"/>
                    <a:pt x="129" y="336"/>
                    <a:pt x="129" y="336"/>
                  </a:cubicBezTo>
                  <a:cubicBezTo>
                    <a:pt x="129" y="372"/>
                    <a:pt x="159" y="394"/>
                    <a:pt x="202" y="394"/>
                  </a:cubicBezTo>
                  <a:cubicBezTo>
                    <a:pt x="265" y="394"/>
                    <a:pt x="307" y="359"/>
                    <a:pt x="307"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8">
              <a:extLst>
                <a:ext uri="{FF2B5EF4-FFF2-40B4-BE49-F238E27FC236}">
                  <a16:creationId xmlns:a16="http://schemas.microsoft.com/office/drawing/2014/main" id="{E75C15B3-8177-7E6B-C4A7-1B9D3FB9D027}"/>
                </a:ext>
              </a:extLst>
            </p:cNvPr>
            <p:cNvSpPr>
              <a:spLocks/>
            </p:cNvSpPr>
            <p:nvPr userDrawn="1"/>
          </p:nvSpPr>
          <p:spPr bwMode="auto">
            <a:xfrm>
              <a:off x="4859916" y="3170238"/>
              <a:ext cx="1384300" cy="1543050"/>
            </a:xfrm>
            <a:custGeom>
              <a:avLst/>
              <a:gdLst>
                <a:gd name="T0" fmla="*/ 0 w 432"/>
                <a:gd name="T1" fmla="*/ 9 h 480"/>
                <a:gd name="T2" fmla="*/ 133 w 432"/>
                <a:gd name="T3" fmla="*/ 9 h 480"/>
                <a:gd name="T4" fmla="*/ 133 w 432"/>
                <a:gd name="T5" fmla="*/ 75 h 480"/>
                <a:gd name="T6" fmla="*/ 272 w 432"/>
                <a:gd name="T7" fmla="*/ 0 h 480"/>
                <a:gd name="T8" fmla="*/ 432 w 432"/>
                <a:gd name="T9" fmla="*/ 175 h 480"/>
                <a:gd name="T10" fmla="*/ 432 w 432"/>
                <a:gd name="T11" fmla="*/ 480 h 480"/>
                <a:gd name="T12" fmla="*/ 298 w 432"/>
                <a:gd name="T13" fmla="*/ 480 h 480"/>
                <a:gd name="T14" fmla="*/ 298 w 432"/>
                <a:gd name="T15" fmla="*/ 217 h 480"/>
                <a:gd name="T16" fmla="*/ 217 w 432"/>
                <a:gd name="T17" fmla="*/ 121 h 480"/>
                <a:gd name="T18" fmla="*/ 133 w 432"/>
                <a:gd name="T19" fmla="*/ 217 h 480"/>
                <a:gd name="T20" fmla="*/ 133 w 432"/>
                <a:gd name="T21" fmla="*/ 480 h 480"/>
                <a:gd name="T22" fmla="*/ 0 w 432"/>
                <a:gd name="T23" fmla="*/ 480 h 480"/>
                <a:gd name="T24" fmla="*/ 0 w 432"/>
                <a:gd name="T25" fmla="*/ 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480">
                  <a:moveTo>
                    <a:pt x="0" y="9"/>
                  </a:moveTo>
                  <a:cubicBezTo>
                    <a:pt x="133" y="9"/>
                    <a:pt x="133" y="9"/>
                    <a:pt x="133" y="9"/>
                  </a:cubicBezTo>
                  <a:cubicBezTo>
                    <a:pt x="133" y="75"/>
                    <a:pt x="133" y="75"/>
                    <a:pt x="133" y="75"/>
                  </a:cubicBezTo>
                  <a:cubicBezTo>
                    <a:pt x="164" y="36"/>
                    <a:pt x="204" y="0"/>
                    <a:pt x="272" y="0"/>
                  </a:cubicBezTo>
                  <a:cubicBezTo>
                    <a:pt x="373" y="0"/>
                    <a:pt x="432" y="67"/>
                    <a:pt x="432" y="175"/>
                  </a:cubicBezTo>
                  <a:cubicBezTo>
                    <a:pt x="432" y="480"/>
                    <a:pt x="432" y="480"/>
                    <a:pt x="432" y="480"/>
                  </a:cubicBezTo>
                  <a:cubicBezTo>
                    <a:pt x="298" y="480"/>
                    <a:pt x="298" y="480"/>
                    <a:pt x="298" y="480"/>
                  </a:cubicBezTo>
                  <a:cubicBezTo>
                    <a:pt x="298" y="217"/>
                    <a:pt x="298" y="217"/>
                    <a:pt x="298" y="217"/>
                  </a:cubicBezTo>
                  <a:cubicBezTo>
                    <a:pt x="298" y="154"/>
                    <a:pt x="268" y="121"/>
                    <a:pt x="217" y="121"/>
                  </a:cubicBezTo>
                  <a:cubicBezTo>
                    <a:pt x="166" y="121"/>
                    <a:pt x="133" y="154"/>
                    <a:pt x="133" y="217"/>
                  </a:cubicBezTo>
                  <a:cubicBezTo>
                    <a:pt x="133" y="480"/>
                    <a:pt x="133" y="480"/>
                    <a:pt x="133" y="480"/>
                  </a:cubicBezTo>
                  <a:cubicBezTo>
                    <a:pt x="0" y="480"/>
                    <a:pt x="0" y="480"/>
                    <a:pt x="0" y="480"/>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9">
              <a:extLst>
                <a:ext uri="{FF2B5EF4-FFF2-40B4-BE49-F238E27FC236}">
                  <a16:creationId xmlns:a16="http://schemas.microsoft.com/office/drawing/2014/main" id="{AA27F0F6-EBAD-77B3-0964-617F5FC5A0BD}"/>
                </a:ext>
              </a:extLst>
            </p:cNvPr>
            <p:cNvSpPr>
              <a:spLocks/>
            </p:cNvSpPr>
            <p:nvPr userDrawn="1"/>
          </p:nvSpPr>
          <p:spPr bwMode="auto">
            <a:xfrm>
              <a:off x="6436593" y="2649538"/>
              <a:ext cx="1460500" cy="2063750"/>
            </a:xfrm>
            <a:custGeom>
              <a:avLst/>
              <a:gdLst>
                <a:gd name="T0" fmla="*/ 0 w 920"/>
                <a:gd name="T1" fmla="*/ 0 h 1300"/>
                <a:gd name="T2" fmla="*/ 270 w 920"/>
                <a:gd name="T3" fmla="*/ 0 h 1300"/>
                <a:gd name="T4" fmla="*/ 270 w 920"/>
                <a:gd name="T5" fmla="*/ 692 h 1300"/>
                <a:gd name="T6" fmla="*/ 585 w 920"/>
                <a:gd name="T7" fmla="*/ 346 h 1300"/>
                <a:gd name="T8" fmla="*/ 908 w 920"/>
                <a:gd name="T9" fmla="*/ 346 h 1300"/>
                <a:gd name="T10" fmla="*/ 547 w 920"/>
                <a:gd name="T11" fmla="*/ 721 h 1300"/>
                <a:gd name="T12" fmla="*/ 920 w 920"/>
                <a:gd name="T13" fmla="*/ 1300 h 1300"/>
                <a:gd name="T14" fmla="*/ 609 w 920"/>
                <a:gd name="T15" fmla="*/ 1300 h 1300"/>
                <a:gd name="T16" fmla="*/ 365 w 920"/>
                <a:gd name="T17" fmla="*/ 909 h 1300"/>
                <a:gd name="T18" fmla="*/ 270 w 920"/>
                <a:gd name="T19" fmla="*/ 1010 h 1300"/>
                <a:gd name="T20" fmla="*/ 270 w 920"/>
                <a:gd name="T21" fmla="*/ 1300 h 1300"/>
                <a:gd name="T22" fmla="*/ 0 w 920"/>
                <a:gd name="T23" fmla="*/ 1300 h 1300"/>
                <a:gd name="T24" fmla="*/ 0 w 920"/>
                <a:gd name="T2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0" h="1300">
                  <a:moveTo>
                    <a:pt x="0" y="0"/>
                  </a:moveTo>
                  <a:lnTo>
                    <a:pt x="270" y="0"/>
                  </a:lnTo>
                  <a:lnTo>
                    <a:pt x="270" y="692"/>
                  </a:lnTo>
                  <a:lnTo>
                    <a:pt x="585" y="346"/>
                  </a:lnTo>
                  <a:lnTo>
                    <a:pt x="908" y="346"/>
                  </a:lnTo>
                  <a:lnTo>
                    <a:pt x="547" y="721"/>
                  </a:lnTo>
                  <a:lnTo>
                    <a:pt x="920" y="1300"/>
                  </a:lnTo>
                  <a:lnTo>
                    <a:pt x="609" y="1300"/>
                  </a:lnTo>
                  <a:lnTo>
                    <a:pt x="365" y="909"/>
                  </a:lnTo>
                  <a:lnTo>
                    <a:pt x="270" y="1010"/>
                  </a:lnTo>
                  <a:lnTo>
                    <a:pt x="270" y="1300"/>
                  </a:lnTo>
                  <a:lnTo>
                    <a:pt x="0" y="13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10">
              <a:extLst>
                <a:ext uri="{FF2B5EF4-FFF2-40B4-BE49-F238E27FC236}">
                  <a16:creationId xmlns:a16="http://schemas.microsoft.com/office/drawing/2014/main" id="{0D449E32-BCCB-5FA7-37E4-30FF7569B638}"/>
                </a:ext>
              </a:extLst>
            </p:cNvPr>
            <p:cNvSpPr>
              <a:spLocks/>
            </p:cNvSpPr>
            <p:nvPr userDrawn="1"/>
          </p:nvSpPr>
          <p:spPr bwMode="auto">
            <a:xfrm>
              <a:off x="7919896" y="3173413"/>
              <a:ext cx="1227138" cy="1568450"/>
            </a:xfrm>
            <a:custGeom>
              <a:avLst/>
              <a:gdLst>
                <a:gd name="T0" fmla="*/ 0 w 383"/>
                <a:gd name="T1" fmla="*/ 417 h 488"/>
                <a:gd name="T2" fmla="*/ 57 w 383"/>
                <a:gd name="T3" fmla="*/ 329 h 488"/>
                <a:gd name="T4" fmla="*/ 206 w 383"/>
                <a:gd name="T5" fmla="*/ 385 h 488"/>
                <a:gd name="T6" fmla="*/ 262 w 383"/>
                <a:gd name="T7" fmla="*/ 350 h 488"/>
                <a:gd name="T8" fmla="*/ 262 w 383"/>
                <a:gd name="T9" fmla="*/ 348 h 488"/>
                <a:gd name="T10" fmla="*/ 165 w 383"/>
                <a:gd name="T11" fmla="*/ 294 h 488"/>
                <a:gd name="T12" fmla="*/ 24 w 383"/>
                <a:gd name="T13" fmla="*/ 152 h 488"/>
                <a:gd name="T14" fmla="*/ 24 w 383"/>
                <a:gd name="T15" fmla="*/ 150 h 488"/>
                <a:gd name="T16" fmla="*/ 196 w 383"/>
                <a:gd name="T17" fmla="*/ 0 h 488"/>
                <a:gd name="T18" fmla="*/ 372 w 383"/>
                <a:gd name="T19" fmla="*/ 55 h 488"/>
                <a:gd name="T20" fmla="*/ 321 w 383"/>
                <a:gd name="T21" fmla="*/ 147 h 488"/>
                <a:gd name="T22" fmla="*/ 194 w 383"/>
                <a:gd name="T23" fmla="*/ 103 h 488"/>
                <a:gd name="T24" fmla="*/ 144 w 383"/>
                <a:gd name="T25" fmla="*/ 136 h 488"/>
                <a:gd name="T26" fmla="*/ 144 w 383"/>
                <a:gd name="T27" fmla="*/ 138 h 488"/>
                <a:gd name="T28" fmla="*/ 240 w 383"/>
                <a:gd name="T29" fmla="*/ 194 h 488"/>
                <a:gd name="T30" fmla="*/ 383 w 383"/>
                <a:gd name="T31" fmla="*/ 334 h 488"/>
                <a:gd name="T32" fmla="*/ 383 w 383"/>
                <a:gd name="T33" fmla="*/ 336 h 488"/>
                <a:gd name="T34" fmla="*/ 203 w 383"/>
                <a:gd name="T35" fmla="*/ 488 h 488"/>
                <a:gd name="T36" fmla="*/ 0 w 383"/>
                <a:gd name="T37" fmla="*/ 41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3" h="488">
                  <a:moveTo>
                    <a:pt x="0" y="417"/>
                  </a:moveTo>
                  <a:cubicBezTo>
                    <a:pt x="57" y="329"/>
                    <a:pt x="57" y="329"/>
                    <a:pt x="57" y="329"/>
                  </a:cubicBezTo>
                  <a:cubicBezTo>
                    <a:pt x="108" y="366"/>
                    <a:pt x="162" y="385"/>
                    <a:pt x="206" y="385"/>
                  </a:cubicBezTo>
                  <a:cubicBezTo>
                    <a:pt x="245" y="385"/>
                    <a:pt x="262" y="371"/>
                    <a:pt x="262" y="350"/>
                  </a:cubicBezTo>
                  <a:cubicBezTo>
                    <a:pt x="262" y="348"/>
                    <a:pt x="262" y="348"/>
                    <a:pt x="262" y="348"/>
                  </a:cubicBezTo>
                  <a:cubicBezTo>
                    <a:pt x="262" y="319"/>
                    <a:pt x="217" y="309"/>
                    <a:pt x="165" y="294"/>
                  </a:cubicBezTo>
                  <a:cubicBezTo>
                    <a:pt x="99" y="274"/>
                    <a:pt x="24" y="243"/>
                    <a:pt x="24" y="152"/>
                  </a:cubicBezTo>
                  <a:cubicBezTo>
                    <a:pt x="24" y="150"/>
                    <a:pt x="24" y="150"/>
                    <a:pt x="24" y="150"/>
                  </a:cubicBezTo>
                  <a:cubicBezTo>
                    <a:pt x="24" y="54"/>
                    <a:pt x="101" y="0"/>
                    <a:pt x="196" y="0"/>
                  </a:cubicBezTo>
                  <a:cubicBezTo>
                    <a:pt x="256" y="0"/>
                    <a:pt x="321" y="21"/>
                    <a:pt x="372" y="55"/>
                  </a:cubicBezTo>
                  <a:cubicBezTo>
                    <a:pt x="321" y="147"/>
                    <a:pt x="321" y="147"/>
                    <a:pt x="321" y="147"/>
                  </a:cubicBezTo>
                  <a:cubicBezTo>
                    <a:pt x="275" y="120"/>
                    <a:pt x="228" y="103"/>
                    <a:pt x="194" y="103"/>
                  </a:cubicBezTo>
                  <a:cubicBezTo>
                    <a:pt x="161" y="103"/>
                    <a:pt x="144" y="118"/>
                    <a:pt x="144" y="136"/>
                  </a:cubicBezTo>
                  <a:cubicBezTo>
                    <a:pt x="144" y="138"/>
                    <a:pt x="144" y="138"/>
                    <a:pt x="144" y="138"/>
                  </a:cubicBezTo>
                  <a:cubicBezTo>
                    <a:pt x="144" y="164"/>
                    <a:pt x="189" y="176"/>
                    <a:pt x="240" y="194"/>
                  </a:cubicBezTo>
                  <a:cubicBezTo>
                    <a:pt x="306" y="216"/>
                    <a:pt x="383" y="248"/>
                    <a:pt x="383" y="334"/>
                  </a:cubicBezTo>
                  <a:cubicBezTo>
                    <a:pt x="383" y="336"/>
                    <a:pt x="383" y="336"/>
                    <a:pt x="383" y="336"/>
                  </a:cubicBezTo>
                  <a:cubicBezTo>
                    <a:pt x="383" y="440"/>
                    <a:pt x="305" y="488"/>
                    <a:pt x="203" y="488"/>
                  </a:cubicBezTo>
                  <a:cubicBezTo>
                    <a:pt x="137" y="488"/>
                    <a:pt x="63" y="466"/>
                    <a:pt x="0"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Oval 11">
              <a:extLst>
                <a:ext uri="{FF2B5EF4-FFF2-40B4-BE49-F238E27FC236}">
                  <a16:creationId xmlns:a16="http://schemas.microsoft.com/office/drawing/2014/main" id="{DF4FD3AA-2A1C-04CA-7759-A7926327B4AA}"/>
                </a:ext>
              </a:extLst>
            </p:cNvPr>
            <p:cNvSpPr>
              <a:spLocks noChangeArrowheads="1"/>
            </p:cNvSpPr>
            <p:nvPr userDrawn="1"/>
          </p:nvSpPr>
          <p:spPr bwMode="auto">
            <a:xfrm>
              <a:off x="9282260" y="4167188"/>
              <a:ext cx="544513" cy="546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34236670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_White">
    <p:bg>
      <p:bgPr>
        <a:solidFill>
          <a:schemeClr val="bg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89C3EB64-A851-71DD-8882-1FDB7C2E99CB}"/>
              </a:ext>
            </a:extLst>
          </p:cNvPr>
          <p:cNvSpPr txBox="1"/>
          <p:nvPr userDrawn="1"/>
        </p:nvSpPr>
        <p:spPr>
          <a:xfrm>
            <a:off x="1603772" y="6401580"/>
            <a:ext cx="4115872" cy="153888"/>
          </a:xfrm>
          <a:prstGeom prst="rect">
            <a:avLst/>
          </a:prstGeom>
          <a:noFill/>
        </p:spPr>
        <p:txBody>
          <a:bodyPr wrap="square" lIns="0" tIns="0" rIns="0" bIns="0" rtlCol="0">
            <a:spAutoFit/>
          </a:bodyPr>
          <a:lstStyle/>
          <a:p>
            <a:r>
              <a:rPr lang="en-US" sz="1000">
                <a:solidFill>
                  <a:schemeClr val="tx1"/>
                </a:solidFill>
                <a:latin typeface="Arial" pitchFamily="34" charset="0"/>
                <a:cs typeface="Arial" pitchFamily="34" charset="0"/>
              </a:rPr>
              <a:t>2025 Lenovo Internal. All rights reserved.</a:t>
            </a:r>
          </a:p>
        </p:txBody>
      </p:sp>
      <p:grpSp>
        <p:nvGrpSpPr>
          <p:cNvPr id="17" name="Group 16">
            <a:extLst>
              <a:ext uri="{FF2B5EF4-FFF2-40B4-BE49-F238E27FC236}">
                <a16:creationId xmlns:a16="http://schemas.microsoft.com/office/drawing/2014/main" id="{76E4C2BE-620B-6B7D-1426-F9CB0B9DB688}"/>
              </a:ext>
            </a:extLst>
          </p:cNvPr>
          <p:cNvGrpSpPr>
            <a:grpSpLocks noChangeAspect="1"/>
          </p:cNvGrpSpPr>
          <p:nvPr userDrawn="1"/>
        </p:nvGrpSpPr>
        <p:grpSpPr>
          <a:xfrm>
            <a:off x="760611" y="6348283"/>
            <a:ext cx="777442" cy="259316"/>
            <a:chOff x="547688" y="952500"/>
            <a:chExt cx="12190413" cy="4067175"/>
          </a:xfrm>
        </p:grpSpPr>
        <p:sp>
          <p:nvSpPr>
            <p:cNvPr id="18" name="Rectangle 17">
              <a:extLst>
                <a:ext uri="{FF2B5EF4-FFF2-40B4-BE49-F238E27FC236}">
                  <a16:creationId xmlns:a16="http://schemas.microsoft.com/office/drawing/2014/main" id="{7C002FA1-87AB-10E7-DF14-BCD2904245D0}"/>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7">
              <a:extLst>
                <a:ext uri="{FF2B5EF4-FFF2-40B4-BE49-F238E27FC236}">
                  <a16:creationId xmlns:a16="http://schemas.microsoft.com/office/drawing/2014/main" id="{AFC16D85-BEED-1820-DFF9-5D8B0AACAC23}"/>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8">
              <a:extLst>
                <a:ext uri="{FF2B5EF4-FFF2-40B4-BE49-F238E27FC236}">
                  <a16:creationId xmlns:a16="http://schemas.microsoft.com/office/drawing/2014/main" id="{1F2566FE-64C0-16F6-945D-2961668799EB}"/>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9">
              <a:extLst>
                <a:ext uri="{FF2B5EF4-FFF2-40B4-BE49-F238E27FC236}">
                  <a16:creationId xmlns:a16="http://schemas.microsoft.com/office/drawing/2014/main" id="{D3B60C47-FE53-B519-B5B0-91907EAADB5E}"/>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0">
              <a:extLst>
                <a:ext uri="{FF2B5EF4-FFF2-40B4-BE49-F238E27FC236}">
                  <a16:creationId xmlns:a16="http://schemas.microsoft.com/office/drawing/2014/main" id="{51BD7309-4598-0B4D-F955-25A4778655B5}"/>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0">
              <a:extLst>
                <a:ext uri="{FF2B5EF4-FFF2-40B4-BE49-F238E27FC236}">
                  <a16:creationId xmlns:a16="http://schemas.microsoft.com/office/drawing/2014/main" id="{3AB317A1-606F-084E-CD32-A64A53D259C5}"/>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11">
              <a:extLst>
                <a:ext uri="{FF2B5EF4-FFF2-40B4-BE49-F238E27FC236}">
                  <a16:creationId xmlns:a16="http://schemas.microsoft.com/office/drawing/2014/main" id="{3ECEF077-D5E5-A906-C26A-748935BA5E8F}"/>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6" name="Title 16"/>
          <p:cNvSpPr>
            <a:spLocks noGrp="1"/>
          </p:cNvSpPr>
          <p:nvPr>
            <p:ph type="title" hasCustomPrompt="1"/>
          </p:nvPr>
        </p:nvSpPr>
        <p:spPr bwMode="gray">
          <a:xfrm>
            <a:off x="750528" y="1549492"/>
            <a:ext cx="6265272" cy="2405203"/>
          </a:xfrm>
          <a:prstGeom prst="rect">
            <a:avLst/>
          </a:prstGeom>
        </p:spPr>
        <p:txBody>
          <a:bodyPr lIns="0" tIns="0" rIns="0" bIns="0" anchor="b" anchorCtr="0"/>
          <a:lstStyle>
            <a:lvl1pPr marL="0" algn="l" defTabSz="1218987" rtl="0" eaLnBrk="1" latinLnBrk="0" hangingPunct="1">
              <a:lnSpc>
                <a:spcPct val="75000"/>
              </a:lnSpc>
              <a:spcBef>
                <a:spcPct val="0"/>
              </a:spcBef>
              <a:buNone/>
              <a:defRPr lang="en-US" sz="6000" b="1" kern="1200" cap="none" spc="-150" baseline="0" dirty="0">
                <a:solidFill>
                  <a:schemeClr val="tx1">
                    <a:lumMod val="95000"/>
                    <a:lumOff val="5000"/>
                  </a:schemeClr>
                </a:solidFill>
                <a:latin typeface="Arial" pitchFamily="34" charset="0"/>
                <a:ea typeface="+mn-ea"/>
                <a:cs typeface="Arial" pitchFamily="34" charset="0"/>
              </a:defRPr>
            </a:lvl1pPr>
          </a:lstStyle>
          <a:p>
            <a:r>
              <a:rPr lang="en-US"/>
              <a:t>Section header</a:t>
            </a:r>
          </a:p>
        </p:txBody>
      </p:sp>
      <p:sp>
        <p:nvSpPr>
          <p:cNvPr id="11" name="Text Placeholder 2"/>
          <p:cNvSpPr>
            <a:spLocks noGrp="1"/>
          </p:cNvSpPr>
          <p:nvPr>
            <p:ph type="body" idx="1" hasCustomPrompt="1"/>
          </p:nvPr>
        </p:nvSpPr>
        <p:spPr bwMode="white">
          <a:xfrm>
            <a:off x="750528" y="4328650"/>
            <a:ext cx="6265272" cy="327013"/>
          </a:xfrm>
          <a:prstGeom prst="rect">
            <a:avLst/>
          </a:prstGeom>
        </p:spPr>
        <p:txBody>
          <a:bodyPr wrap="square" lIns="0" tIns="0" rIns="0" bIns="0" anchor="t" anchorCtr="0">
            <a:spAutoFit/>
          </a:bodyPr>
          <a:lstStyle>
            <a:lvl1pPr marL="0" indent="0">
              <a:lnSpc>
                <a:spcPct val="85000"/>
              </a:lnSpc>
              <a:spcBef>
                <a:spcPts val="0"/>
              </a:spcBef>
              <a:buNone/>
              <a:defRPr sz="2500" spc="0" baseline="0">
                <a:solidFill>
                  <a:schemeClr val="tx1">
                    <a:lumMod val="95000"/>
                    <a:lumOff val="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head here</a:t>
            </a:r>
          </a:p>
        </p:txBody>
      </p:sp>
      <p:sp>
        <p:nvSpPr>
          <p:cNvPr id="5" name="Slide Number Placeholder 4">
            <a:extLst>
              <a:ext uri="{FF2B5EF4-FFF2-40B4-BE49-F238E27FC236}">
                <a16:creationId xmlns:a16="http://schemas.microsoft.com/office/drawing/2014/main" id="{E7C22F89-ADF9-0A52-8877-914CA372E2DE}"/>
              </a:ext>
            </a:extLst>
          </p:cNvPr>
          <p:cNvSpPr>
            <a:spLocks noGrp="1"/>
          </p:cNvSpPr>
          <p:nvPr>
            <p:ph type="sldNum" sz="quarter" idx="10"/>
          </p:nvPr>
        </p:nvSpPr>
        <p:spPr/>
        <p:txBody>
          <a:bodyPr/>
          <a:lstStyle>
            <a:lvl1pPr>
              <a:defRPr>
                <a:solidFill>
                  <a:schemeClr val="tx1">
                    <a:lumMod val="95000"/>
                    <a:lumOff val="5000"/>
                  </a:schemeClr>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1232683492"/>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3E462-A77C-0DA8-1022-9C0AF097A9B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EBE5898-33C5-50E7-35C2-3FD0C7DCF4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EA2BCA-551F-868E-0361-771D2522E323}"/>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5" name="Footer Placeholder 4">
            <a:extLst>
              <a:ext uri="{FF2B5EF4-FFF2-40B4-BE49-F238E27FC236}">
                <a16:creationId xmlns:a16="http://schemas.microsoft.com/office/drawing/2014/main" id="{DFD16EAF-48F3-B976-E589-AE77CEFD07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C501C2-E136-3401-5EA4-715B691735D7}"/>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3705781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60FEFA-66AC-BC5A-478D-714FE21460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414580C-BD95-1369-95B5-82F1886723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AE277C-35AE-D878-8BB6-6508ED304CF8}"/>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5" name="Footer Placeholder 4">
            <a:extLst>
              <a:ext uri="{FF2B5EF4-FFF2-40B4-BE49-F238E27FC236}">
                <a16:creationId xmlns:a16="http://schemas.microsoft.com/office/drawing/2014/main" id="{F1EE9173-C9F7-6E1F-1EE7-F5D7CCC55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D85378-15C2-9018-6646-543122FE78BF}"/>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2607789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95090-5A4A-9085-9978-E8F86AACBB1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9BE4367-A397-C7CA-906F-EB37255257E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26B5F44-0D74-EF67-355D-D40588BA2330}"/>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5" name="Footer Placeholder 4">
            <a:extLst>
              <a:ext uri="{FF2B5EF4-FFF2-40B4-BE49-F238E27FC236}">
                <a16:creationId xmlns:a16="http://schemas.microsoft.com/office/drawing/2014/main" id="{A42F64C2-704C-8EF4-7DA7-BE868A0567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EBA3A0-D1A0-11DC-F977-FB47950A1965}"/>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36761007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58573-5AE3-50FB-4275-F8789AD5C6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2D7C3A-83BF-BC92-28F8-6CA2277A25C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AA39C67-25B6-0139-35AA-DC05CEF02A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2F5169-38FF-783D-9EFE-C79D137F72AD}"/>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6" name="Footer Placeholder 5">
            <a:extLst>
              <a:ext uri="{FF2B5EF4-FFF2-40B4-BE49-F238E27FC236}">
                <a16:creationId xmlns:a16="http://schemas.microsoft.com/office/drawing/2014/main" id="{1F521FA8-9926-2762-E19D-8DD6FDAFC8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1A9FCB-0A34-CF8F-E45B-3D10BB84C15E}"/>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24428081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6FA18B-F659-E31F-386D-6014B77725F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8E1A4D-D26A-82B5-F165-51F742023E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5B5962-7DDE-389C-8347-3B729422DE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9F3DEF2-06F3-77A1-0A07-F200CA12A3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05FFE2D-A341-7DB5-3C41-73682367199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2B6E83-6C5A-E2E6-2719-C03490F56D9A}"/>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8" name="Footer Placeholder 7">
            <a:extLst>
              <a:ext uri="{FF2B5EF4-FFF2-40B4-BE49-F238E27FC236}">
                <a16:creationId xmlns:a16="http://schemas.microsoft.com/office/drawing/2014/main" id="{F90864A0-3909-172F-26F3-5F6F483B4D8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320D290-0196-6CF8-EE0F-7D7D716E5BC8}"/>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15708090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390C6-E37D-3A38-4428-4952AB4EEC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6230D8E-1056-77E4-B099-3E64C37F86D9}"/>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4" name="Footer Placeholder 3">
            <a:extLst>
              <a:ext uri="{FF2B5EF4-FFF2-40B4-BE49-F238E27FC236}">
                <a16:creationId xmlns:a16="http://schemas.microsoft.com/office/drawing/2014/main" id="{30E3EB26-F7E0-7DDD-D63F-0801302EBD0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14B8310-500C-E093-FDC3-32FAA3BAAE2A}"/>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29515543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1CB283-0256-4211-7360-65C27725CFE8}"/>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3" name="Footer Placeholder 2">
            <a:extLst>
              <a:ext uri="{FF2B5EF4-FFF2-40B4-BE49-F238E27FC236}">
                <a16:creationId xmlns:a16="http://schemas.microsoft.com/office/drawing/2014/main" id="{09795AF6-A934-A155-02E6-F2755462365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0C71311-35F3-EF48-E42E-FE4FA7A181BF}"/>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9450362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6BCA7-A90B-80FD-FD64-352E856247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0DF7BD-E6E1-9808-3290-4520F30821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A9A8676-A556-538E-283F-138C24A7D8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DA0AB29-5BFD-C2A6-4EFE-74DE6669ABAF}"/>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6" name="Footer Placeholder 5">
            <a:extLst>
              <a:ext uri="{FF2B5EF4-FFF2-40B4-BE49-F238E27FC236}">
                <a16:creationId xmlns:a16="http://schemas.microsoft.com/office/drawing/2014/main" id="{188701D1-31D9-3746-86E5-33A1E307FD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139460-99F5-F685-9C37-D3FB879171FB}"/>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3912614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E9028-AFF9-EB1D-CA7B-3DEC7EA634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58E86D-1860-AE0B-4EC5-60C0AADEAC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E81E6BC-8808-CA82-674E-F95294EF88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19BB21-6F34-2947-91AF-80CC74E990F7}"/>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6" name="Footer Placeholder 5">
            <a:extLst>
              <a:ext uri="{FF2B5EF4-FFF2-40B4-BE49-F238E27FC236}">
                <a16:creationId xmlns:a16="http://schemas.microsoft.com/office/drawing/2014/main" id="{886D5ACC-3965-6D12-8E81-09E73BCDAC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7FFCE2-D3FB-B420-AA75-6DFFC0EEF581}"/>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5128242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67F0B-5FC8-D435-340B-1D5D9A3241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C687D3-8588-ACAC-05E8-DB194CB3A3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8A0ECA-7A71-70B9-47CC-2814419F64E0}"/>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5" name="Footer Placeholder 4">
            <a:extLst>
              <a:ext uri="{FF2B5EF4-FFF2-40B4-BE49-F238E27FC236}">
                <a16:creationId xmlns:a16="http://schemas.microsoft.com/office/drawing/2014/main" id="{FAC8CEF6-64A1-62B6-6A7F-7CAF489C03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B5E955-BB7D-CA6E-6DB2-DD1C20AED7DF}"/>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23857115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_Black">
    <p:bg>
      <p:bgPr>
        <a:solidFill>
          <a:srgbClr val="1E0113"/>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C50D814F-EE5B-C084-7424-D39C0DE54FF7}"/>
              </a:ext>
            </a:extLst>
          </p:cNvPr>
          <p:cNvSpPr txBox="1"/>
          <p:nvPr userDrawn="1"/>
        </p:nvSpPr>
        <p:spPr>
          <a:xfrm>
            <a:off x="1603772" y="6401580"/>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5 Lenovo Internal. All rights reserved.</a:t>
            </a:r>
          </a:p>
        </p:txBody>
      </p:sp>
      <p:grpSp>
        <p:nvGrpSpPr>
          <p:cNvPr id="17" name="Group 16">
            <a:extLst>
              <a:ext uri="{FF2B5EF4-FFF2-40B4-BE49-F238E27FC236}">
                <a16:creationId xmlns:a16="http://schemas.microsoft.com/office/drawing/2014/main" id="{3C498D60-2F6C-6ADE-BB9A-D957660E0731}"/>
              </a:ext>
            </a:extLst>
          </p:cNvPr>
          <p:cNvGrpSpPr>
            <a:grpSpLocks noChangeAspect="1"/>
          </p:cNvGrpSpPr>
          <p:nvPr userDrawn="1"/>
        </p:nvGrpSpPr>
        <p:grpSpPr>
          <a:xfrm>
            <a:off x="760611" y="6348283"/>
            <a:ext cx="777442" cy="259316"/>
            <a:chOff x="547688" y="952500"/>
            <a:chExt cx="12190413" cy="4067175"/>
          </a:xfrm>
        </p:grpSpPr>
        <p:sp>
          <p:nvSpPr>
            <p:cNvPr id="18" name="Rectangle 17">
              <a:extLst>
                <a:ext uri="{FF2B5EF4-FFF2-40B4-BE49-F238E27FC236}">
                  <a16:creationId xmlns:a16="http://schemas.microsoft.com/office/drawing/2014/main" id="{C8414641-DA5A-BDF2-889C-1430A63E358C}"/>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7">
              <a:extLst>
                <a:ext uri="{FF2B5EF4-FFF2-40B4-BE49-F238E27FC236}">
                  <a16:creationId xmlns:a16="http://schemas.microsoft.com/office/drawing/2014/main" id="{6CAA72E6-FAE3-6740-34C0-7A08091254BD}"/>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8">
              <a:extLst>
                <a:ext uri="{FF2B5EF4-FFF2-40B4-BE49-F238E27FC236}">
                  <a16:creationId xmlns:a16="http://schemas.microsoft.com/office/drawing/2014/main" id="{0EE70422-5E10-8634-79CC-15428116CD0F}"/>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9">
              <a:extLst>
                <a:ext uri="{FF2B5EF4-FFF2-40B4-BE49-F238E27FC236}">
                  <a16:creationId xmlns:a16="http://schemas.microsoft.com/office/drawing/2014/main" id="{F9B9866C-878A-3BAE-D601-6317EEEB78A9}"/>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0">
              <a:extLst>
                <a:ext uri="{FF2B5EF4-FFF2-40B4-BE49-F238E27FC236}">
                  <a16:creationId xmlns:a16="http://schemas.microsoft.com/office/drawing/2014/main" id="{20DD7C9B-A88C-7ECB-27AE-CB4579CDB90D}"/>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0">
              <a:extLst>
                <a:ext uri="{FF2B5EF4-FFF2-40B4-BE49-F238E27FC236}">
                  <a16:creationId xmlns:a16="http://schemas.microsoft.com/office/drawing/2014/main" id="{084B2859-A58F-9171-5328-94CFD162F589}"/>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11">
              <a:extLst>
                <a:ext uri="{FF2B5EF4-FFF2-40B4-BE49-F238E27FC236}">
                  <a16:creationId xmlns:a16="http://schemas.microsoft.com/office/drawing/2014/main" id="{DC1829C2-6CD9-FE35-3F45-EEC10E2F169E}"/>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6" name="Title 16"/>
          <p:cNvSpPr>
            <a:spLocks noGrp="1"/>
          </p:cNvSpPr>
          <p:nvPr>
            <p:ph type="title" hasCustomPrompt="1"/>
          </p:nvPr>
        </p:nvSpPr>
        <p:spPr bwMode="gray">
          <a:xfrm>
            <a:off x="750529" y="1549492"/>
            <a:ext cx="6265272" cy="2405203"/>
          </a:xfrm>
          <a:prstGeom prst="rect">
            <a:avLst/>
          </a:prstGeom>
        </p:spPr>
        <p:txBody>
          <a:bodyPr lIns="0" tIns="0" rIns="0" bIns="0" anchor="b" anchorCtr="0"/>
          <a:lstStyle>
            <a:lvl1pPr marL="0" algn="l" defTabSz="1218987" rtl="0" eaLnBrk="1" latinLnBrk="0" hangingPunct="1">
              <a:lnSpc>
                <a:spcPct val="85000"/>
              </a:lnSpc>
              <a:spcBef>
                <a:spcPct val="0"/>
              </a:spcBef>
              <a:buNone/>
              <a:defRPr lang="en-US" sz="6000" b="1" kern="1200" cap="none" spc="-150" baseline="0" dirty="0">
                <a:solidFill>
                  <a:schemeClr val="bg1"/>
                </a:solidFill>
                <a:latin typeface="Arial" pitchFamily="34" charset="0"/>
                <a:ea typeface="+mn-ea"/>
                <a:cs typeface="Arial" pitchFamily="34" charset="0"/>
              </a:defRPr>
            </a:lvl1pPr>
          </a:lstStyle>
          <a:p>
            <a:r>
              <a:rPr lang="en-US"/>
              <a:t>Section header</a:t>
            </a:r>
          </a:p>
        </p:txBody>
      </p:sp>
      <p:sp>
        <p:nvSpPr>
          <p:cNvPr id="11" name="Text Placeholder 2"/>
          <p:cNvSpPr>
            <a:spLocks noGrp="1"/>
          </p:cNvSpPr>
          <p:nvPr>
            <p:ph type="body" idx="1" hasCustomPrompt="1"/>
          </p:nvPr>
        </p:nvSpPr>
        <p:spPr bwMode="white">
          <a:xfrm>
            <a:off x="750529" y="4328650"/>
            <a:ext cx="6265272" cy="327013"/>
          </a:xfrm>
          <a:prstGeom prst="rect">
            <a:avLst/>
          </a:prstGeom>
        </p:spPr>
        <p:txBody>
          <a:bodyPr lIns="0" tIns="0" rIns="0" bIns="0" anchor="t" anchorCtr="0">
            <a:spAutoFit/>
          </a:bodyPr>
          <a:lstStyle>
            <a:lvl1pPr marL="0" indent="0">
              <a:lnSpc>
                <a:spcPct val="85000"/>
              </a:lnSpc>
              <a:spcBef>
                <a:spcPts val="0"/>
              </a:spcBef>
              <a:buNone/>
              <a:defRPr sz="2500" spc="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head here</a:t>
            </a:r>
          </a:p>
        </p:txBody>
      </p:sp>
      <p:sp>
        <p:nvSpPr>
          <p:cNvPr id="2" name="Slide Number Placeholder 1">
            <a:extLst>
              <a:ext uri="{FF2B5EF4-FFF2-40B4-BE49-F238E27FC236}">
                <a16:creationId xmlns:a16="http://schemas.microsoft.com/office/drawing/2014/main" id="{E01CC465-FDF1-C0A2-5A83-FB03B2F0F4B6}"/>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204893329"/>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23A58AC-FAD3-44F3-D799-EE2C44889ED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ED4591B-BC9B-D860-4A64-01F10EC1629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A48F40-8091-94E5-E656-277C5DFE26ED}"/>
              </a:ext>
            </a:extLst>
          </p:cNvPr>
          <p:cNvSpPr>
            <a:spLocks noGrp="1"/>
          </p:cNvSpPr>
          <p:nvPr>
            <p:ph type="dt" sz="half" idx="10"/>
          </p:nvPr>
        </p:nvSpPr>
        <p:spPr/>
        <p:txBody>
          <a:bodyPr/>
          <a:lstStyle/>
          <a:p>
            <a:fld id="{3CEA2D40-7651-40E6-9791-6CDAC4D737EA}" type="datetimeFigureOut">
              <a:rPr lang="en-US" smtClean="0"/>
              <a:t>6/9/2026</a:t>
            </a:fld>
            <a:endParaRPr lang="en-US"/>
          </a:p>
        </p:txBody>
      </p:sp>
      <p:sp>
        <p:nvSpPr>
          <p:cNvPr id="5" name="Footer Placeholder 4">
            <a:extLst>
              <a:ext uri="{FF2B5EF4-FFF2-40B4-BE49-F238E27FC236}">
                <a16:creationId xmlns:a16="http://schemas.microsoft.com/office/drawing/2014/main" id="{827675B4-A149-69D5-B547-7BA42A5E47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EE197A-DC01-8568-6652-87F73F577609}"/>
              </a:ext>
            </a:extLst>
          </p:cNvPr>
          <p:cNvSpPr>
            <a:spLocks noGrp="1"/>
          </p:cNvSpPr>
          <p:nvPr>
            <p:ph type="sldNum" sz="quarter" idx="12"/>
          </p:nvPr>
        </p:nvSpPr>
        <p:spPr/>
        <p:txBody>
          <a:bodyPr/>
          <a:lstStyle/>
          <a:p>
            <a:fld id="{7B14A0B0-BBC1-4982-86E4-78A91C0DF950}" type="slidenum">
              <a:rPr lang="en-US" smtClean="0"/>
              <a:t>‹#›</a:t>
            </a:fld>
            <a:endParaRPr lang="en-US"/>
          </a:p>
        </p:txBody>
      </p:sp>
    </p:spTree>
    <p:extLst>
      <p:ext uri="{BB962C8B-B14F-4D97-AF65-F5344CB8AC3E}">
        <p14:creationId xmlns:p14="http://schemas.microsoft.com/office/powerpoint/2010/main" val="34404041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Closing Slide_Black">
    <p:bg>
      <p:bgPr>
        <a:gradFill>
          <a:gsLst>
            <a:gs pos="100000">
              <a:srgbClr val="391262"/>
            </a:gs>
            <a:gs pos="38000">
              <a:srgbClr val="64131E"/>
            </a:gs>
            <a:gs pos="0">
              <a:srgbClr val="831B22"/>
            </a:gs>
            <a:gs pos="71000">
              <a:srgbClr val="4D144A"/>
            </a:gs>
          </a:gsLst>
          <a:path path="circle">
            <a:fillToRect l="100000" t="100000"/>
          </a:path>
        </a:gradFill>
        <a:effectLst/>
      </p:bgPr>
    </p:bg>
    <p:spTree>
      <p:nvGrpSpPr>
        <p:cNvPr id="1" name=""/>
        <p:cNvGrpSpPr/>
        <p:nvPr/>
      </p:nvGrpSpPr>
      <p:grpSpPr>
        <a:xfrm>
          <a:off x="0" y="0"/>
          <a:ext cx="0" cy="0"/>
          <a:chOff x="0" y="0"/>
          <a:chExt cx="0" cy="0"/>
        </a:xfrm>
      </p:grpSpPr>
      <p:grpSp>
        <p:nvGrpSpPr>
          <p:cNvPr id="166" name="Group 165">
            <a:extLst>
              <a:ext uri="{FF2B5EF4-FFF2-40B4-BE49-F238E27FC236}">
                <a16:creationId xmlns:a16="http://schemas.microsoft.com/office/drawing/2014/main" id="{45DF6D6F-9C39-7C31-64D4-4BCE9C9CA5D6}"/>
              </a:ext>
            </a:extLst>
          </p:cNvPr>
          <p:cNvGrpSpPr/>
          <p:nvPr/>
        </p:nvGrpSpPr>
        <p:grpSpPr>
          <a:xfrm>
            <a:off x="1539348" y="3561910"/>
            <a:ext cx="7853422" cy="1769127"/>
            <a:chOff x="541049" y="2649538"/>
            <a:chExt cx="9285724" cy="2092325"/>
          </a:xfrm>
          <a:solidFill>
            <a:schemeClr val="bg1"/>
          </a:solidFill>
        </p:grpSpPr>
        <p:sp>
          <p:nvSpPr>
            <p:cNvPr id="167" name="Freeform 5">
              <a:extLst>
                <a:ext uri="{FF2B5EF4-FFF2-40B4-BE49-F238E27FC236}">
                  <a16:creationId xmlns:a16="http://schemas.microsoft.com/office/drawing/2014/main" id="{E109AFA1-C190-E6CF-D819-5DDBF44B5ED2}"/>
                </a:ext>
              </a:extLst>
            </p:cNvPr>
            <p:cNvSpPr>
              <a:spLocks/>
            </p:cNvSpPr>
            <p:nvPr/>
          </p:nvSpPr>
          <p:spPr bwMode="auto">
            <a:xfrm>
              <a:off x="541049" y="2809876"/>
              <a:ext cx="963613" cy="1928813"/>
            </a:xfrm>
            <a:custGeom>
              <a:avLst/>
              <a:gdLst>
                <a:gd name="T0" fmla="*/ 57 w 301"/>
                <a:gd name="T1" fmla="*/ 458 h 600"/>
                <a:gd name="T2" fmla="*/ 57 w 301"/>
                <a:gd name="T3" fmla="*/ 235 h 600"/>
                <a:gd name="T4" fmla="*/ 0 w 301"/>
                <a:gd name="T5" fmla="*/ 235 h 600"/>
                <a:gd name="T6" fmla="*/ 0 w 301"/>
                <a:gd name="T7" fmla="*/ 121 h 600"/>
                <a:gd name="T8" fmla="*/ 57 w 301"/>
                <a:gd name="T9" fmla="*/ 121 h 600"/>
                <a:gd name="T10" fmla="*/ 57 w 301"/>
                <a:gd name="T11" fmla="*/ 0 h 600"/>
                <a:gd name="T12" fmla="*/ 190 w 301"/>
                <a:gd name="T13" fmla="*/ 0 h 600"/>
                <a:gd name="T14" fmla="*/ 190 w 301"/>
                <a:gd name="T15" fmla="*/ 121 h 600"/>
                <a:gd name="T16" fmla="*/ 301 w 301"/>
                <a:gd name="T17" fmla="*/ 121 h 600"/>
                <a:gd name="T18" fmla="*/ 301 w 301"/>
                <a:gd name="T19" fmla="*/ 235 h 600"/>
                <a:gd name="T20" fmla="*/ 190 w 301"/>
                <a:gd name="T21" fmla="*/ 235 h 600"/>
                <a:gd name="T22" fmla="*/ 190 w 301"/>
                <a:gd name="T23" fmla="*/ 436 h 600"/>
                <a:gd name="T24" fmla="*/ 233 w 301"/>
                <a:gd name="T25" fmla="*/ 482 h 600"/>
                <a:gd name="T26" fmla="*/ 299 w 301"/>
                <a:gd name="T27" fmla="*/ 465 h 600"/>
                <a:gd name="T28" fmla="*/ 299 w 301"/>
                <a:gd name="T29" fmla="*/ 573 h 600"/>
                <a:gd name="T30" fmla="*/ 194 w 301"/>
                <a:gd name="T31" fmla="*/ 600 h 600"/>
                <a:gd name="T32" fmla="*/ 57 w 301"/>
                <a:gd name="T33" fmla="*/ 45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600">
                  <a:moveTo>
                    <a:pt x="57" y="458"/>
                  </a:moveTo>
                  <a:cubicBezTo>
                    <a:pt x="57" y="235"/>
                    <a:pt x="57" y="235"/>
                    <a:pt x="57" y="235"/>
                  </a:cubicBezTo>
                  <a:cubicBezTo>
                    <a:pt x="0" y="235"/>
                    <a:pt x="0" y="235"/>
                    <a:pt x="0" y="235"/>
                  </a:cubicBezTo>
                  <a:cubicBezTo>
                    <a:pt x="0" y="121"/>
                    <a:pt x="0" y="121"/>
                    <a:pt x="0" y="121"/>
                  </a:cubicBezTo>
                  <a:cubicBezTo>
                    <a:pt x="57" y="121"/>
                    <a:pt x="57" y="121"/>
                    <a:pt x="57" y="121"/>
                  </a:cubicBezTo>
                  <a:cubicBezTo>
                    <a:pt x="57" y="0"/>
                    <a:pt x="57" y="0"/>
                    <a:pt x="57" y="0"/>
                  </a:cubicBezTo>
                  <a:cubicBezTo>
                    <a:pt x="190" y="0"/>
                    <a:pt x="190" y="0"/>
                    <a:pt x="190" y="0"/>
                  </a:cubicBezTo>
                  <a:cubicBezTo>
                    <a:pt x="190" y="121"/>
                    <a:pt x="190" y="121"/>
                    <a:pt x="190" y="121"/>
                  </a:cubicBezTo>
                  <a:cubicBezTo>
                    <a:pt x="301" y="121"/>
                    <a:pt x="301" y="121"/>
                    <a:pt x="301" y="121"/>
                  </a:cubicBezTo>
                  <a:cubicBezTo>
                    <a:pt x="301" y="235"/>
                    <a:pt x="301" y="235"/>
                    <a:pt x="301" y="235"/>
                  </a:cubicBezTo>
                  <a:cubicBezTo>
                    <a:pt x="190" y="235"/>
                    <a:pt x="190" y="235"/>
                    <a:pt x="190" y="235"/>
                  </a:cubicBezTo>
                  <a:cubicBezTo>
                    <a:pt x="190" y="436"/>
                    <a:pt x="190" y="436"/>
                    <a:pt x="190" y="436"/>
                  </a:cubicBezTo>
                  <a:cubicBezTo>
                    <a:pt x="190" y="467"/>
                    <a:pt x="203" y="482"/>
                    <a:pt x="233" y="482"/>
                  </a:cubicBezTo>
                  <a:cubicBezTo>
                    <a:pt x="258" y="482"/>
                    <a:pt x="280" y="476"/>
                    <a:pt x="299" y="465"/>
                  </a:cubicBezTo>
                  <a:cubicBezTo>
                    <a:pt x="299" y="573"/>
                    <a:pt x="299" y="573"/>
                    <a:pt x="299" y="573"/>
                  </a:cubicBezTo>
                  <a:cubicBezTo>
                    <a:pt x="271" y="590"/>
                    <a:pt x="239" y="600"/>
                    <a:pt x="194" y="600"/>
                  </a:cubicBezTo>
                  <a:cubicBezTo>
                    <a:pt x="112" y="600"/>
                    <a:pt x="57" y="568"/>
                    <a:pt x="57"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68" name="Freeform 6">
              <a:extLst>
                <a:ext uri="{FF2B5EF4-FFF2-40B4-BE49-F238E27FC236}">
                  <a16:creationId xmlns:a16="http://schemas.microsoft.com/office/drawing/2014/main" id="{1969BD4D-0C40-739F-FF6B-4214C2BEBC90}"/>
                </a:ext>
              </a:extLst>
            </p:cNvPr>
            <p:cNvSpPr>
              <a:spLocks/>
            </p:cNvSpPr>
            <p:nvPr/>
          </p:nvSpPr>
          <p:spPr bwMode="auto">
            <a:xfrm>
              <a:off x="1708151" y="2649538"/>
              <a:ext cx="1382713" cy="2063750"/>
            </a:xfrm>
            <a:custGeom>
              <a:avLst/>
              <a:gdLst>
                <a:gd name="T0" fmla="*/ 0 w 432"/>
                <a:gd name="T1" fmla="*/ 0 h 642"/>
                <a:gd name="T2" fmla="*/ 134 w 432"/>
                <a:gd name="T3" fmla="*/ 0 h 642"/>
                <a:gd name="T4" fmla="*/ 134 w 432"/>
                <a:gd name="T5" fmla="*/ 237 h 642"/>
                <a:gd name="T6" fmla="*/ 272 w 432"/>
                <a:gd name="T7" fmla="*/ 162 h 642"/>
                <a:gd name="T8" fmla="*/ 432 w 432"/>
                <a:gd name="T9" fmla="*/ 337 h 642"/>
                <a:gd name="T10" fmla="*/ 432 w 432"/>
                <a:gd name="T11" fmla="*/ 642 h 642"/>
                <a:gd name="T12" fmla="*/ 298 w 432"/>
                <a:gd name="T13" fmla="*/ 642 h 642"/>
                <a:gd name="T14" fmla="*/ 298 w 432"/>
                <a:gd name="T15" fmla="*/ 379 h 642"/>
                <a:gd name="T16" fmla="*/ 218 w 432"/>
                <a:gd name="T17" fmla="*/ 283 h 642"/>
                <a:gd name="T18" fmla="*/ 134 w 432"/>
                <a:gd name="T19" fmla="*/ 379 h 642"/>
                <a:gd name="T20" fmla="*/ 134 w 432"/>
                <a:gd name="T21" fmla="*/ 642 h 642"/>
                <a:gd name="T22" fmla="*/ 0 w 432"/>
                <a:gd name="T23" fmla="*/ 642 h 642"/>
                <a:gd name="T24" fmla="*/ 0 w 432"/>
                <a:gd name="T25"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642">
                  <a:moveTo>
                    <a:pt x="0" y="0"/>
                  </a:moveTo>
                  <a:cubicBezTo>
                    <a:pt x="134" y="0"/>
                    <a:pt x="134" y="0"/>
                    <a:pt x="134" y="0"/>
                  </a:cubicBezTo>
                  <a:cubicBezTo>
                    <a:pt x="134" y="237"/>
                    <a:pt x="134" y="237"/>
                    <a:pt x="134" y="237"/>
                  </a:cubicBezTo>
                  <a:cubicBezTo>
                    <a:pt x="165" y="198"/>
                    <a:pt x="204" y="162"/>
                    <a:pt x="272" y="162"/>
                  </a:cubicBezTo>
                  <a:cubicBezTo>
                    <a:pt x="373" y="162"/>
                    <a:pt x="432" y="229"/>
                    <a:pt x="432" y="337"/>
                  </a:cubicBezTo>
                  <a:cubicBezTo>
                    <a:pt x="432" y="642"/>
                    <a:pt x="432" y="642"/>
                    <a:pt x="432" y="642"/>
                  </a:cubicBezTo>
                  <a:cubicBezTo>
                    <a:pt x="298" y="642"/>
                    <a:pt x="298" y="642"/>
                    <a:pt x="298" y="642"/>
                  </a:cubicBezTo>
                  <a:cubicBezTo>
                    <a:pt x="298" y="379"/>
                    <a:pt x="298" y="379"/>
                    <a:pt x="298" y="379"/>
                  </a:cubicBezTo>
                  <a:cubicBezTo>
                    <a:pt x="298" y="316"/>
                    <a:pt x="269" y="283"/>
                    <a:pt x="218" y="283"/>
                  </a:cubicBezTo>
                  <a:cubicBezTo>
                    <a:pt x="166" y="283"/>
                    <a:pt x="134" y="316"/>
                    <a:pt x="134" y="379"/>
                  </a:cubicBezTo>
                  <a:cubicBezTo>
                    <a:pt x="134" y="642"/>
                    <a:pt x="134" y="642"/>
                    <a:pt x="134" y="642"/>
                  </a:cubicBezTo>
                  <a:cubicBezTo>
                    <a:pt x="0" y="642"/>
                    <a:pt x="0" y="642"/>
                    <a:pt x="0" y="64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69" name="Freeform 7">
              <a:extLst>
                <a:ext uri="{FF2B5EF4-FFF2-40B4-BE49-F238E27FC236}">
                  <a16:creationId xmlns:a16="http://schemas.microsoft.com/office/drawing/2014/main" id="{6DB7C37A-1FE6-9BFA-5E83-3EC0F79497F5}"/>
                </a:ext>
              </a:extLst>
            </p:cNvPr>
            <p:cNvSpPr>
              <a:spLocks noEditPoints="1"/>
            </p:cNvSpPr>
            <p:nvPr/>
          </p:nvSpPr>
          <p:spPr bwMode="auto">
            <a:xfrm>
              <a:off x="3261304" y="3179763"/>
              <a:ext cx="1390650" cy="1562100"/>
            </a:xfrm>
            <a:custGeom>
              <a:avLst/>
              <a:gdLst>
                <a:gd name="T0" fmla="*/ 0 w 434"/>
                <a:gd name="T1" fmla="*/ 342 h 486"/>
                <a:gd name="T2" fmla="*/ 0 w 434"/>
                <a:gd name="T3" fmla="*/ 340 h 486"/>
                <a:gd name="T4" fmla="*/ 190 w 434"/>
                <a:gd name="T5" fmla="*/ 189 h 486"/>
                <a:gd name="T6" fmla="*/ 305 w 434"/>
                <a:gd name="T7" fmla="*/ 209 h 486"/>
                <a:gd name="T8" fmla="*/ 305 w 434"/>
                <a:gd name="T9" fmla="*/ 201 h 486"/>
                <a:gd name="T10" fmla="*/ 204 w 434"/>
                <a:gd name="T11" fmla="*/ 115 h 486"/>
                <a:gd name="T12" fmla="*/ 74 w 434"/>
                <a:gd name="T13" fmla="*/ 140 h 486"/>
                <a:gd name="T14" fmla="*/ 40 w 434"/>
                <a:gd name="T15" fmla="*/ 38 h 486"/>
                <a:gd name="T16" fmla="*/ 223 w 434"/>
                <a:gd name="T17" fmla="*/ 0 h 486"/>
                <a:gd name="T18" fmla="*/ 383 w 434"/>
                <a:gd name="T19" fmla="*/ 53 h 486"/>
                <a:gd name="T20" fmla="*/ 434 w 434"/>
                <a:gd name="T21" fmla="*/ 204 h 486"/>
                <a:gd name="T22" fmla="*/ 434 w 434"/>
                <a:gd name="T23" fmla="*/ 477 h 486"/>
                <a:gd name="T24" fmla="*/ 304 w 434"/>
                <a:gd name="T25" fmla="*/ 477 h 486"/>
                <a:gd name="T26" fmla="*/ 304 w 434"/>
                <a:gd name="T27" fmla="*/ 426 h 486"/>
                <a:gd name="T28" fmla="*/ 162 w 434"/>
                <a:gd name="T29" fmla="*/ 486 h 486"/>
                <a:gd name="T30" fmla="*/ 0 w 434"/>
                <a:gd name="T31" fmla="*/ 342 h 486"/>
                <a:gd name="T32" fmla="*/ 307 w 434"/>
                <a:gd name="T33" fmla="*/ 311 h 486"/>
                <a:gd name="T34" fmla="*/ 307 w 434"/>
                <a:gd name="T35" fmla="*/ 287 h 486"/>
                <a:gd name="T36" fmla="*/ 222 w 434"/>
                <a:gd name="T37" fmla="*/ 270 h 486"/>
                <a:gd name="T38" fmla="*/ 129 w 434"/>
                <a:gd name="T39" fmla="*/ 335 h 486"/>
                <a:gd name="T40" fmla="*/ 129 w 434"/>
                <a:gd name="T41" fmla="*/ 336 h 486"/>
                <a:gd name="T42" fmla="*/ 202 w 434"/>
                <a:gd name="T43" fmla="*/ 394 h 486"/>
                <a:gd name="T44" fmla="*/ 307 w 434"/>
                <a:gd name="T45" fmla="*/ 31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4" h="486">
                  <a:moveTo>
                    <a:pt x="0" y="342"/>
                  </a:moveTo>
                  <a:cubicBezTo>
                    <a:pt x="0" y="340"/>
                    <a:pt x="0" y="340"/>
                    <a:pt x="0" y="340"/>
                  </a:cubicBezTo>
                  <a:cubicBezTo>
                    <a:pt x="0" y="237"/>
                    <a:pt x="78" y="189"/>
                    <a:pt x="190" y="189"/>
                  </a:cubicBezTo>
                  <a:cubicBezTo>
                    <a:pt x="237" y="189"/>
                    <a:pt x="272" y="197"/>
                    <a:pt x="305" y="209"/>
                  </a:cubicBezTo>
                  <a:cubicBezTo>
                    <a:pt x="305" y="201"/>
                    <a:pt x="305" y="201"/>
                    <a:pt x="305" y="201"/>
                  </a:cubicBezTo>
                  <a:cubicBezTo>
                    <a:pt x="305" y="145"/>
                    <a:pt x="271" y="115"/>
                    <a:pt x="204" y="115"/>
                  </a:cubicBezTo>
                  <a:cubicBezTo>
                    <a:pt x="153" y="115"/>
                    <a:pt x="117" y="124"/>
                    <a:pt x="74" y="140"/>
                  </a:cubicBezTo>
                  <a:cubicBezTo>
                    <a:pt x="40" y="38"/>
                    <a:pt x="40" y="38"/>
                    <a:pt x="40" y="38"/>
                  </a:cubicBezTo>
                  <a:cubicBezTo>
                    <a:pt x="92" y="15"/>
                    <a:pt x="143" y="0"/>
                    <a:pt x="223" y="0"/>
                  </a:cubicBezTo>
                  <a:cubicBezTo>
                    <a:pt x="296" y="0"/>
                    <a:pt x="349" y="20"/>
                    <a:pt x="383" y="53"/>
                  </a:cubicBezTo>
                  <a:cubicBezTo>
                    <a:pt x="418" y="88"/>
                    <a:pt x="434" y="140"/>
                    <a:pt x="434" y="204"/>
                  </a:cubicBezTo>
                  <a:cubicBezTo>
                    <a:pt x="434" y="477"/>
                    <a:pt x="434" y="477"/>
                    <a:pt x="434" y="477"/>
                  </a:cubicBezTo>
                  <a:cubicBezTo>
                    <a:pt x="304" y="477"/>
                    <a:pt x="304" y="477"/>
                    <a:pt x="304" y="477"/>
                  </a:cubicBezTo>
                  <a:cubicBezTo>
                    <a:pt x="304" y="426"/>
                    <a:pt x="304" y="426"/>
                    <a:pt x="304" y="426"/>
                  </a:cubicBezTo>
                  <a:cubicBezTo>
                    <a:pt x="272" y="462"/>
                    <a:pt x="227" y="486"/>
                    <a:pt x="162" y="486"/>
                  </a:cubicBezTo>
                  <a:cubicBezTo>
                    <a:pt x="73" y="486"/>
                    <a:pt x="0" y="435"/>
                    <a:pt x="0" y="342"/>
                  </a:cubicBezTo>
                  <a:close/>
                  <a:moveTo>
                    <a:pt x="307" y="311"/>
                  </a:moveTo>
                  <a:cubicBezTo>
                    <a:pt x="307" y="287"/>
                    <a:pt x="307" y="287"/>
                    <a:pt x="307" y="287"/>
                  </a:cubicBezTo>
                  <a:cubicBezTo>
                    <a:pt x="284" y="277"/>
                    <a:pt x="254" y="270"/>
                    <a:pt x="222" y="270"/>
                  </a:cubicBezTo>
                  <a:cubicBezTo>
                    <a:pt x="164" y="270"/>
                    <a:pt x="129" y="292"/>
                    <a:pt x="129" y="335"/>
                  </a:cubicBezTo>
                  <a:cubicBezTo>
                    <a:pt x="129" y="336"/>
                    <a:pt x="129" y="336"/>
                    <a:pt x="129" y="336"/>
                  </a:cubicBezTo>
                  <a:cubicBezTo>
                    <a:pt x="129" y="372"/>
                    <a:pt x="159" y="394"/>
                    <a:pt x="202" y="394"/>
                  </a:cubicBezTo>
                  <a:cubicBezTo>
                    <a:pt x="265" y="394"/>
                    <a:pt x="307" y="359"/>
                    <a:pt x="307"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70" name="Freeform 8">
              <a:extLst>
                <a:ext uri="{FF2B5EF4-FFF2-40B4-BE49-F238E27FC236}">
                  <a16:creationId xmlns:a16="http://schemas.microsoft.com/office/drawing/2014/main" id="{3AEA624F-19C6-31CA-5CD9-7E42ED68DA56}"/>
                </a:ext>
              </a:extLst>
            </p:cNvPr>
            <p:cNvSpPr>
              <a:spLocks/>
            </p:cNvSpPr>
            <p:nvPr/>
          </p:nvSpPr>
          <p:spPr bwMode="auto">
            <a:xfrm>
              <a:off x="4859916" y="3170238"/>
              <a:ext cx="1384300" cy="1543050"/>
            </a:xfrm>
            <a:custGeom>
              <a:avLst/>
              <a:gdLst>
                <a:gd name="T0" fmla="*/ 0 w 432"/>
                <a:gd name="T1" fmla="*/ 9 h 480"/>
                <a:gd name="T2" fmla="*/ 133 w 432"/>
                <a:gd name="T3" fmla="*/ 9 h 480"/>
                <a:gd name="T4" fmla="*/ 133 w 432"/>
                <a:gd name="T5" fmla="*/ 75 h 480"/>
                <a:gd name="T6" fmla="*/ 272 w 432"/>
                <a:gd name="T7" fmla="*/ 0 h 480"/>
                <a:gd name="T8" fmla="*/ 432 w 432"/>
                <a:gd name="T9" fmla="*/ 175 h 480"/>
                <a:gd name="T10" fmla="*/ 432 w 432"/>
                <a:gd name="T11" fmla="*/ 480 h 480"/>
                <a:gd name="T12" fmla="*/ 298 w 432"/>
                <a:gd name="T13" fmla="*/ 480 h 480"/>
                <a:gd name="T14" fmla="*/ 298 w 432"/>
                <a:gd name="T15" fmla="*/ 217 h 480"/>
                <a:gd name="T16" fmla="*/ 217 w 432"/>
                <a:gd name="T17" fmla="*/ 121 h 480"/>
                <a:gd name="T18" fmla="*/ 133 w 432"/>
                <a:gd name="T19" fmla="*/ 217 h 480"/>
                <a:gd name="T20" fmla="*/ 133 w 432"/>
                <a:gd name="T21" fmla="*/ 480 h 480"/>
                <a:gd name="T22" fmla="*/ 0 w 432"/>
                <a:gd name="T23" fmla="*/ 480 h 480"/>
                <a:gd name="T24" fmla="*/ 0 w 432"/>
                <a:gd name="T25" fmla="*/ 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480">
                  <a:moveTo>
                    <a:pt x="0" y="9"/>
                  </a:moveTo>
                  <a:cubicBezTo>
                    <a:pt x="133" y="9"/>
                    <a:pt x="133" y="9"/>
                    <a:pt x="133" y="9"/>
                  </a:cubicBezTo>
                  <a:cubicBezTo>
                    <a:pt x="133" y="75"/>
                    <a:pt x="133" y="75"/>
                    <a:pt x="133" y="75"/>
                  </a:cubicBezTo>
                  <a:cubicBezTo>
                    <a:pt x="164" y="36"/>
                    <a:pt x="204" y="0"/>
                    <a:pt x="272" y="0"/>
                  </a:cubicBezTo>
                  <a:cubicBezTo>
                    <a:pt x="373" y="0"/>
                    <a:pt x="432" y="67"/>
                    <a:pt x="432" y="175"/>
                  </a:cubicBezTo>
                  <a:cubicBezTo>
                    <a:pt x="432" y="480"/>
                    <a:pt x="432" y="480"/>
                    <a:pt x="432" y="480"/>
                  </a:cubicBezTo>
                  <a:cubicBezTo>
                    <a:pt x="298" y="480"/>
                    <a:pt x="298" y="480"/>
                    <a:pt x="298" y="480"/>
                  </a:cubicBezTo>
                  <a:cubicBezTo>
                    <a:pt x="298" y="217"/>
                    <a:pt x="298" y="217"/>
                    <a:pt x="298" y="217"/>
                  </a:cubicBezTo>
                  <a:cubicBezTo>
                    <a:pt x="298" y="154"/>
                    <a:pt x="268" y="121"/>
                    <a:pt x="217" y="121"/>
                  </a:cubicBezTo>
                  <a:cubicBezTo>
                    <a:pt x="166" y="121"/>
                    <a:pt x="133" y="154"/>
                    <a:pt x="133" y="217"/>
                  </a:cubicBezTo>
                  <a:cubicBezTo>
                    <a:pt x="133" y="480"/>
                    <a:pt x="133" y="480"/>
                    <a:pt x="133" y="480"/>
                  </a:cubicBezTo>
                  <a:cubicBezTo>
                    <a:pt x="0" y="480"/>
                    <a:pt x="0" y="480"/>
                    <a:pt x="0" y="480"/>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71" name="Freeform 9">
              <a:extLst>
                <a:ext uri="{FF2B5EF4-FFF2-40B4-BE49-F238E27FC236}">
                  <a16:creationId xmlns:a16="http://schemas.microsoft.com/office/drawing/2014/main" id="{ED142D15-3F97-1719-8D74-37D26D1CAA33}"/>
                </a:ext>
              </a:extLst>
            </p:cNvPr>
            <p:cNvSpPr>
              <a:spLocks/>
            </p:cNvSpPr>
            <p:nvPr/>
          </p:nvSpPr>
          <p:spPr bwMode="auto">
            <a:xfrm>
              <a:off x="6436593" y="2649538"/>
              <a:ext cx="1460500" cy="2063750"/>
            </a:xfrm>
            <a:custGeom>
              <a:avLst/>
              <a:gdLst>
                <a:gd name="T0" fmla="*/ 0 w 920"/>
                <a:gd name="T1" fmla="*/ 0 h 1300"/>
                <a:gd name="T2" fmla="*/ 270 w 920"/>
                <a:gd name="T3" fmla="*/ 0 h 1300"/>
                <a:gd name="T4" fmla="*/ 270 w 920"/>
                <a:gd name="T5" fmla="*/ 692 h 1300"/>
                <a:gd name="T6" fmla="*/ 585 w 920"/>
                <a:gd name="T7" fmla="*/ 346 h 1300"/>
                <a:gd name="T8" fmla="*/ 908 w 920"/>
                <a:gd name="T9" fmla="*/ 346 h 1300"/>
                <a:gd name="T10" fmla="*/ 547 w 920"/>
                <a:gd name="T11" fmla="*/ 721 h 1300"/>
                <a:gd name="T12" fmla="*/ 920 w 920"/>
                <a:gd name="T13" fmla="*/ 1300 h 1300"/>
                <a:gd name="T14" fmla="*/ 609 w 920"/>
                <a:gd name="T15" fmla="*/ 1300 h 1300"/>
                <a:gd name="T16" fmla="*/ 365 w 920"/>
                <a:gd name="T17" fmla="*/ 909 h 1300"/>
                <a:gd name="T18" fmla="*/ 270 w 920"/>
                <a:gd name="T19" fmla="*/ 1010 h 1300"/>
                <a:gd name="T20" fmla="*/ 270 w 920"/>
                <a:gd name="T21" fmla="*/ 1300 h 1300"/>
                <a:gd name="T22" fmla="*/ 0 w 920"/>
                <a:gd name="T23" fmla="*/ 1300 h 1300"/>
                <a:gd name="T24" fmla="*/ 0 w 920"/>
                <a:gd name="T2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0" h="1300">
                  <a:moveTo>
                    <a:pt x="0" y="0"/>
                  </a:moveTo>
                  <a:lnTo>
                    <a:pt x="270" y="0"/>
                  </a:lnTo>
                  <a:lnTo>
                    <a:pt x="270" y="692"/>
                  </a:lnTo>
                  <a:lnTo>
                    <a:pt x="585" y="346"/>
                  </a:lnTo>
                  <a:lnTo>
                    <a:pt x="908" y="346"/>
                  </a:lnTo>
                  <a:lnTo>
                    <a:pt x="547" y="721"/>
                  </a:lnTo>
                  <a:lnTo>
                    <a:pt x="920" y="1300"/>
                  </a:lnTo>
                  <a:lnTo>
                    <a:pt x="609" y="1300"/>
                  </a:lnTo>
                  <a:lnTo>
                    <a:pt x="365" y="909"/>
                  </a:lnTo>
                  <a:lnTo>
                    <a:pt x="270" y="1010"/>
                  </a:lnTo>
                  <a:lnTo>
                    <a:pt x="270" y="1300"/>
                  </a:lnTo>
                  <a:lnTo>
                    <a:pt x="0" y="13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72" name="Freeform 10">
              <a:extLst>
                <a:ext uri="{FF2B5EF4-FFF2-40B4-BE49-F238E27FC236}">
                  <a16:creationId xmlns:a16="http://schemas.microsoft.com/office/drawing/2014/main" id="{6FEBB0B2-4586-05AB-B4FE-055E54F117A8}"/>
                </a:ext>
              </a:extLst>
            </p:cNvPr>
            <p:cNvSpPr>
              <a:spLocks/>
            </p:cNvSpPr>
            <p:nvPr/>
          </p:nvSpPr>
          <p:spPr bwMode="auto">
            <a:xfrm>
              <a:off x="7919896" y="3173413"/>
              <a:ext cx="1227138" cy="1568450"/>
            </a:xfrm>
            <a:custGeom>
              <a:avLst/>
              <a:gdLst>
                <a:gd name="T0" fmla="*/ 0 w 383"/>
                <a:gd name="T1" fmla="*/ 417 h 488"/>
                <a:gd name="T2" fmla="*/ 57 w 383"/>
                <a:gd name="T3" fmla="*/ 329 h 488"/>
                <a:gd name="T4" fmla="*/ 206 w 383"/>
                <a:gd name="T5" fmla="*/ 385 h 488"/>
                <a:gd name="T6" fmla="*/ 262 w 383"/>
                <a:gd name="T7" fmla="*/ 350 h 488"/>
                <a:gd name="T8" fmla="*/ 262 w 383"/>
                <a:gd name="T9" fmla="*/ 348 h 488"/>
                <a:gd name="T10" fmla="*/ 165 w 383"/>
                <a:gd name="T11" fmla="*/ 294 h 488"/>
                <a:gd name="T12" fmla="*/ 24 w 383"/>
                <a:gd name="T13" fmla="*/ 152 h 488"/>
                <a:gd name="T14" fmla="*/ 24 w 383"/>
                <a:gd name="T15" fmla="*/ 150 h 488"/>
                <a:gd name="T16" fmla="*/ 196 w 383"/>
                <a:gd name="T17" fmla="*/ 0 h 488"/>
                <a:gd name="T18" fmla="*/ 372 w 383"/>
                <a:gd name="T19" fmla="*/ 55 h 488"/>
                <a:gd name="T20" fmla="*/ 321 w 383"/>
                <a:gd name="T21" fmla="*/ 147 h 488"/>
                <a:gd name="T22" fmla="*/ 194 w 383"/>
                <a:gd name="T23" fmla="*/ 103 h 488"/>
                <a:gd name="T24" fmla="*/ 144 w 383"/>
                <a:gd name="T25" fmla="*/ 136 h 488"/>
                <a:gd name="T26" fmla="*/ 144 w 383"/>
                <a:gd name="T27" fmla="*/ 138 h 488"/>
                <a:gd name="T28" fmla="*/ 240 w 383"/>
                <a:gd name="T29" fmla="*/ 194 h 488"/>
                <a:gd name="T30" fmla="*/ 383 w 383"/>
                <a:gd name="T31" fmla="*/ 334 h 488"/>
                <a:gd name="T32" fmla="*/ 383 w 383"/>
                <a:gd name="T33" fmla="*/ 336 h 488"/>
                <a:gd name="T34" fmla="*/ 203 w 383"/>
                <a:gd name="T35" fmla="*/ 488 h 488"/>
                <a:gd name="T36" fmla="*/ 0 w 383"/>
                <a:gd name="T37" fmla="*/ 41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3" h="488">
                  <a:moveTo>
                    <a:pt x="0" y="417"/>
                  </a:moveTo>
                  <a:cubicBezTo>
                    <a:pt x="57" y="329"/>
                    <a:pt x="57" y="329"/>
                    <a:pt x="57" y="329"/>
                  </a:cubicBezTo>
                  <a:cubicBezTo>
                    <a:pt x="108" y="366"/>
                    <a:pt x="162" y="385"/>
                    <a:pt x="206" y="385"/>
                  </a:cubicBezTo>
                  <a:cubicBezTo>
                    <a:pt x="245" y="385"/>
                    <a:pt x="262" y="371"/>
                    <a:pt x="262" y="350"/>
                  </a:cubicBezTo>
                  <a:cubicBezTo>
                    <a:pt x="262" y="348"/>
                    <a:pt x="262" y="348"/>
                    <a:pt x="262" y="348"/>
                  </a:cubicBezTo>
                  <a:cubicBezTo>
                    <a:pt x="262" y="319"/>
                    <a:pt x="217" y="309"/>
                    <a:pt x="165" y="294"/>
                  </a:cubicBezTo>
                  <a:cubicBezTo>
                    <a:pt x="99" y="274"/>
                    <a:pt x="24" y="243"/>
                    <a:pt x="24" y="152"/>
                  </a:cubicBezTo>
                  <a:cubicBezTo>
                    <a:pt x="24" y="150"/>
                    <a:pt x="24" y="150"/>
                    <a:pt x="24" y="150"/>
                  </a:cubicBezTo>
                  <a:cubicBezTo>
                    <a:pt x="24" y="54"/>
                    <a:pt x="101" y="0"/>
                    <a:pt x="196" y="0"/>
                  </a:cubicBezTo>
                  <a:cubicBezTo>
                    <a:pt x="256" y="0"/>
                    <a:pt x="321" y="21"/>
                    <a:pt x="372" y="55"/>
                  </a:cubicBezTo>
                  <a:cubicBezTo>
                    <a:pt x="321" y="147"/>
                    <a:pt x="321" y="147"/>
                    <a:pt x="321" y="147"/>
                  </a:cubicBezTo>
                  <a:cubicBezTo>
                    <a:pt x="275" y="120"/>
                    <a:pt x="228" y="103"/>
                    <a:pt x="194" y="103"/>
                  </a:cubicBezTo>
                  <a:cubicBezTo>
                    <a:pt x="161" y="103"/>
                    <a:pt x="144" y="118"/>
                    <a:pt x="144" y="136"/>
                  </a:cubicBezTo>
                  <a:cubicBezTo>
                    <a:pt x="144" y="138"/>
                    <a:pt x="144" y="138"/>
                    <a:pt x="144" y="138"/>
                  </a:cubicBezTo>
                  <a:cubicBezTo>
                    <a:pt x="144" y="164"/>
                    <a:pt x="189" y="176"/>
                    <a:pt x="240" y="194"/>
                  </a:cubicBezTo>
                  <a:cubicBezTo>
                    <a:pt x="306" y="216"/>
                    <a:pt x="383" y="248"/>
                    <a:pt x="383" y="334"/>
                  </a:cubicBezTo>
                  <a:cubicBezTo>
                    <a:pt x="383" y="336"/>
                    <a:pt x="383" y="336"/>
                    <a:pt x="383" y="336"/>
                  </a:cubicBezTo>
                  <a:cubicBezTo>
                    <a:pt x="383" y="440"/>
                    <a:pt x="305" y="488"/>
                    <a:pt x="203" y="488"/>
                  </a:cubicBezTo>
                  <a:cubicBezTo>
                    <a:pt x="137" y="488"/>
                    <a:pt x="63" y="466"/>
                    <a:pt x="0"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73" name="Oval 11">
              <a:extLst>
                <a:ext uri="{FF2B5EF4-FFF2-40B4-BE49-F238E27FC236}">
                  <a16:creationId xmlns:a16="http://schemas.microsoft.com/office/drawing/2014/main" id="{70877F96-1F23-E1FC-71E9-01EE358F60FD}"/>
                </a:ext>
              </a:extLst>
            </p:cNvPr>
            <p:cNvSpPr>
              <a:spLocks noChangeArrowheads="1"/>
            </p:cNvSpPr>
            <p:nvPr/>
          </p:nvSpPr>
          <p:spPr bwMode="auto">
            <a:xfrm>
              <a:off x="9282260" y="4167188"/>
              <a:ext cx="544513" cy="546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2" name="Group 1">
            <a:extLst>
              <a:ext uri="{FF2B5EF4-FFF2-40B4-BE49-F238E27FC236}">
                <a16:creationId xmlns:a16="http://schemas.microsoft.com/office/drawing/2014/main" id="{59C8C1D9-B375-1D63-409C-0E8AA8DEE2D1}"/>
              </a:ext>
            </a:extLst>
          </p:cNvPr>
          <p:cNvGrpSpPr/>
          <p:nvPr/>
        </p:nvGrpSpPr>
        <p:grpSpPr>
          <a:xfrm>
            <a:off x="9392772" y="767096"/>
            <a:ext cx="2800816" cy="1898696"/>
            <a:chOff x="9390324" y="767096"/>
            <a:chExt cx="2800087" cy="1898696"/>
          </a:xfrm>
        </p:grpSpPr>
        <p:grpSp>
          <p:nvGrpSpPr>
            <p:cNvPr id="76" name="Group 75">
              <a:extLst>
                <a:ext uri="{FF2B5EF4-FFF2-40B4-BE49-F238E27FC236}">
                  <a16:creationId xmlns:a16="http://schemas.microsoft.com/office/drawing/2014/main" id="{04DB0252-2F51-9D54-5F87-47E8112037C5}"/>
                </a:ext>
              </a:extLst>
            </p:cNvPr>
            <p:cNvGrpSpPr/>
            <p:nvPr/>
          </p:nvGrpSpPr>
          <p:grpSpPr>
            <a:xfrm>
              <a:off x="9390324" y="936748"/>
              <a:ext cx="1965963" cy="1042086"/>
              <a:chOff x="4988072" y="501936"/>
              <a:chExt cx="1978802" cy="1051017"/>
            </a:xfrm>
            <a:solidFill>
              <a:schemeClr val="bg1"/>
            </a:solidFill>
          </p:grpSpPr>
          <p:sp>
            <p:nvSpPr>
              <p:cNvPr id="85" name="Freeform 5">
                <a:extLst>
                  <a:ext uri="{FF2B5EF4-FFF2-40B4-BE49-F238E27FC236}">
                    <a16:creationId xmlns:a16="http://schemas.microsoft.com/office/drawing/2014/main" id="{433FD598-576F-FFF0-672B-6A9B1AF51242}"/>
                  </a:ext>
                </a:extLst>
              </p:cNvPr>
              <p:cNvSpPr>
                <a:spLocks/>
              </p:cNvSpPr>
              <p:nvPr/>
            </p:nvSpPr>
            <p:spPr bwMode="auto">
              <a:xfrm>
                <a:off x="5559016" y="501936"/>
                <a:ext cx="218094" cy="282813"/>
              </a:xfrm>
              <a:custGeom>
                <a:avLst/>
                <a:gdLst>
                  <a:gd name="T0" fmla="*/ 0 w 502"/>
                  <a:gd name="T1" fmla="*/ 550 h 651"/>
                  <a:gd name="T2" fmla="*/ 83 w 502"/>
                  <a:gd name="T3" fmla="*/ 451 h 651"/>
                  <a:gd name="T4" fmla="*/ 272 w 502"/>
                  <a:gd name="T5" fmla="*/ 528 h 651"/>
                  <a:gd name="T6" fmla="*/ 363 w 502"/>
                  <a:gd name="T7" fmla="*/ 469 h 651"/>
                  <a:gd name="T8" fmla="*/ 363 w 502"/>
                  <a:gd name="T9" fmla="*/ 467 h 651"/>
                  <a:gd name="T10" fmla="*/ 236 w 502"/>
                  <a:gd name="T11" fmla="*/ 386 h 651"/>
                  <a:gd name="T12" fmla="*/ 26 w 502"/>
                  <a:gd name="T13" fmla="*/ 192 h 651"/>
                  <a:gd name="T14" fmla="*/ 26 w 502"/>
                  <a:gd name="T15" fmla="*/ 191 h 651"/>
                  <a:gd name="T16" fmla="*/ 247 w 502"/>
                  <a:gd name="T17" fmla="*/ 0 h 651"/>
                  <a:gd name="T18" fmla="*/ 483 w 502"/>
                  <a:gd name="T19" fmla="*/ 80 h 651"/>
                  <a:gd name="T20" fmla="*/ 410 w 502"/>
                  <a:gd name="T21" fmla="*/ 185 h 651"/>
                  <a:gd name="T22" fmla="*/ 246 w 502"/>
                  <a:gd name="T23" fmla="*/ 123 h 651"/>
                  <a:gd name="T24" fmla="*/ 164 w 502"/>
                  <a:gd name="T25" fmla="*/ 178 h 651"/>
                  <a:gd name="T26" fmla="*/ 164 w 502"/>
                  <a:gd name="T27" fmla="*/ 180 h 651"/>
                  <a:gd name="T28" fmla="*/ 301 w 502"/>
                  <a:gd name="T29" fmla="*/ 263 h 651"/>
                  <a:gd name="T30" fmla="*/ 502 w 502"/>
                  <a:gd name="T31" fmla="*/ 453 h 651"/>
                  <a:gd name="T32" fmla="*/ 502 w 502"/>
                  <a:gd name="T33" fmla="*/ 455 h 651"/>
                  <a:gd name="T34" fmla="*/ 269 w 502"/>
                  <a:gd name="T35" fmla="*/ 651 h 651"/>
                  <a:gd name="T36" fmla="*/ 0 w 502"/>
                  <a:gd name="T37" fmla="*/ 5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651">
                    <a:moveTo>
                      <a:pt x="0" y="550"/>
                    </a:moveTo>
                    <a:cubicBezTo>
                      <a:pt x="83" y="451"/>
                      <a:pt x="83" y="451"/>
                      <a:pt x="83" y="451"/>
                    </a:cubicBezTo>
                    <a:cubicBezTo>
                      <a:pt x="140" y="498"/>
                      <a:pt x="200" y="528"/>
                      <a:pt x="272" y="528"/>
                    </a:cubicBezTo>
                    <a:cubicBezTo>
                      <a:pt x="329" y="528"/>
                      <a:pt x="363" y="506"/>
                      <a:pt x="363" y="469"/>
                    </a:cubicBezTo>
                    <a:cubicBezTo>
                      <a:pt x="363" y="467"/>
                      <a:pt x="363" y="467"/>
                      <a:pt x="363" y="467"/>
                    </a:cubicBezTo>
                    <a:cubicBezTo>
                      <a:pt x="363" y="431"/>
                      <a:pt x="342" y="413"/>
                      <a:pt x="236" y="386"/>
                    </a:cubicBezTo>
                    <a:cubicBezTo>
                      <a:pt x="108" y="354"/>
                      <a:pt x="26" y="318"/>
                      <a:pt x="26" y="192"/>
                    </a:cubicBezTo>
                    <a:cubicBezTo>
                      <a:pt x="26" y="191"/>
                      <a:pt x="26" y="191"/>
                      <a:pt x="26" y="191"/>
                    </a:cubicBezTo>
                    <a:cubicBezTo>
                      <a:pt x="26" y="76"/>
                      <a:pt x="118" y="0"/>
                      <a:pt x="247" y="0"/>
                    </a:cubicBezTo>
                    <a:cubicBezTo>
                      <a:pt x="340" y="0"/>
                      <a:pt x="419" y="29"/>
                      <a:pt x="483" y="80"/>
                    </a:cubicBezTo>
                    <a:cubicBezTo>
                      <a:pt x="410" y="185"/>
                      <a:pt x="410" y="185"/>
                      <a:pt x="410" y="185"/>
                    </a:cubicBezTo>
                    <a:cubicBezTo>
                      <a:pt x="354" y="146"/>
                      <a:pt x="299" y="123"/>
                      <a:pt x="246" y="123"/>
                    </a:cubicBezTo>
                    <a:cubicBezTo>
                      <a:pt x="192" y="123"/>
                      <a:pt x="164" y="147"/>
                      <a:pt x="164" y="178"/>
                    </a:cubicBezTo>
                    <a:cubicBezTo>
                      <a:pt x="164" y="180"/>
                      <a:pt x="164" y="180"/>
                      <a:pt x="164" y="180"/>
                    </a:cubicBezTo>
                    <a:cubicBezTo>
                      <a:pt x="164" y="221"/>
                      <a:pt x="191" y="235"/>
                      <a:pt x="301" y="263"/>
                    </a:cubicBezTo>
                    <a:cubicBezTo>
                      <a:pt x="429" y="297"/>
                      <a:pt x="502" y="343"/>
                      <a:pt x="502" y="453"/>
                    </a:cubicBezTo>
                    <a:cubicBezTo>
                      <a:pt x="502" y="455"/>
                      <a:pt x="502" y="455"/>
                      <a:pt x="502" y="455"/>
                    </a:cubicBezTo>
                    <a:cubicBezTo>
                      <a:pt x="502" y="581"/>
                      <a:pt x="406" y="651"/>
                      <a:pt x="269" y="651"/>
                    </a:cubicBezTo>
                    <a:cubicBezTo>
                      <a:pt x="173" y="651"/>
                      <a:pt x="76" y="618"/>
                      <a:pt x="0"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6" name="Freeform 6">
                <a:extLst>
                  <a:ext uri="{FF2B5EF4-FFF2-40B4-BE49-F238E27FC236}">
                    <a16:creationId xmlns:a16="http://schemas.microsoft.com/office/drawing/2014/main" id="{824AAD10-C96C-2D4A-15C2-1D354C7C691E}"/>
                  </a:ext>
                </a:extLst>
              </p:cNvPr>
              <p:cNvSpPr>
                <a:spLocks/>
              </p:cNvSpPr>
              <p:nvPr/>
            </p:nvSpPr>
            <p:spPr bwMode="auto">
              <a:xfrm>
                <a:off x="5791295" y="566212"/>
                <a:ext cx="322264" cy="214547"/>
              </a:xfrm>
              <a:custGeom>
                <a:avLst/>
                <a:gdLst>
                  <a:gd name="T0" fmla="*/ 0 w 741"/>
                  <a:gd name="T1" fmla="*/ 9 h 494"/>
                  <a:gd name="T2" fmla="*/ 138 w 741"/>
                  <a:gd name="T3" fmla="*/ 9 h 494"/>
                  <a:gd name="T4" fmla="*/ 138 w 741"/>
                  <a:gd name="T5" fmla="*/ 78 h 494"/>
                  <a:gd name="T6" fmla="*/ 281 w 741"/>
                  <a:gd name="T7" fmla="*/ 0 h 494"/>
                  <a:gd name="T8" fmla="*/ 418 w 741"/>
                  <a:gd name="T9" fmla="*/ 77 h 494"/>
                  <a:gd name="T10" fmla="*/ 577 w 741"/>
                  <a:gd name="T11" fmla="*/ 0 h 494"/>
                  <a:gd name="T12" fmla="*/ 741 w 741"/>
                  <a:gd name="T13" fmla="*/ 178 h 494"/>
                  <a:gd name="T14" fmla="*/ 741 w 741"/>
                  <a:gd name="T15" fmla="*/ 494 h 494"/>
                  <a:gd name="T16" fmla="*/ 603 w 741"/>
                  <a:gd name="T17" fmla="*/ 494 h 494"/>
                  <a:gd name="T18" fmla="*/ 603 w 741"/>
                  <a:gd name="T19" fmla="*/ 224 h 494"/>
                  <a:gd name="T20" fmla="*/ 523 w 741"/>
                  <a:gd name="T21" fmla="*/ 125 h 494"/>
                  <a:gd name="T22" fmla="*/ 439 w 741"/>
                  <a:gd name="T23" fmla="*/ 224 h 494"/>
                  <a:gd name="T24" fmla="*/ 439 w 741"/>
                  <a:gd name="T25" fmla="*/ 494 h 494"/>
                  <a:gd name="T26" fmla="*/ 302 w 741"/>
                  <a:gd name="T27" fmla="*/ 494 h 494"/>
                  <a:gd name="T28" fmla="*/ 302 w 741"/>
                  <a:gd name="T29" fmla="*/ 224 h 494"/>
                  <a:gd name="T30" fmla="*/ 221 w 741"/>
                  <a:gd name="T31" fmla="*/ 125 h 494"/>
                  <a:gd name="T32" fmla="*/ 138 w 741"/>
                  <a:gd name="T33" fmla="*/ 224 h 494"/>
                  <a:gd name="T34" fmla="*/ 138 w 741"/>
                  <a:gd name="T35" fmla="*/ 494 h 494"/>
                  <a:gd name="T36" fmla="*/ 0 w 741"/>
                  <a:gd name="T37" fmla="*/ 494 h 494"/>
                  <a:gd name="T38" fmla="*/ 0 w 741"/>
                  <a:gd name="T39"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1" h="494">
                    <a:moveTo>
                      <a:pt x="0" y="9"/>
                    </a:moveTo>
                    <a:cubicBezTo>
                      <a:pt x="138" y="9"/>
                      <a:pt x="138" y="9"/>
                      <a:pt x="138" y="9"/>
                    </a:cubicBezTo>
                    <a:cubicBezTo>
                      <a:pt x="138" y="78"/>
                      <a:pt x="138" y="78"/>
                      <a:pt x="138" y="78"/>
                    </a:cubicBezTo>
                    <a:cubicBezTo>
                      <a:pt x="170" y="37"/>
                      <a:pt x="211" y="0"/>
                      <a:pt x="281" y="0"/>
                    </a:cubicBezTo>
                    <a:cubicBezTo>
                      <a:pt x="344" y="0"/>
                      <a:pt x="392" y="28"/>
                      <a:pt x="418" y="77"/>
                    </a:cubicBezTo>
                    <a:cubicBezTo>
                      <a:pt x="460" y="27"/>
                      <a:pt x="511" y="0"/>
                      <a:pt x="577" y="0"/>
                    </a:cubicBezTo>
                    <a:cubicBezTo>
                      <a:pt x="679" y="0"/>
                      <a:pt x="741" y="62"/>
                      <a:pt x="741" y="178"/>
                    </a:cubicBezTo>
                    <a:cubicBezTo>
                      <a:pt x="741" y="494"/>
                      <a:pt x="741" y="494"/>
                      <a:pt x="741" y="494"/>
                    </a:cubicBezTo>
                    <a:cubicBezTo>
                      <a:pt x="603" y="494"/>
                      <a:pt x="603" y="494"/>
                      <a:pt x="603" y="494"/>
                    </a:cubicBezTo>
                    <a:cubicBezTo>
                      <a:pt x="603" y="224"/>
                      <a:pt x="603" y="224"/>
                      <a:pt x="603" y="224"/>
                    </a:cubicBezTo>
                    <a:cubicBezTo>
                      <a:pt x="603" y="159"/>
                      <a:pt x="574" y="125"/>
                      <a:pt x="523" y="125"/>
                    </a:cubicBezTo>
                    <a:cubicBezTo>
                      <a:pt x="471" y="125"/>
                      <a:pt x="439" y="159"/>
                      <a:pt x="439" y="224"/>
                    </a:cubicBezTo>
                    <a:cubicBezTo>
                      <a:pt x="439" y="494"/>
                      <a:pt x="439" y="494"/>
                      <a:pt x="439" y="494"/>
                    </a:cubicBezTo>
                    <a:cubicBezTo>
                      <a:pt x="302" y="494"/>
                      <a:pt x="302" y="494"/>
                      <a:pt x="302" y="494"/>
                    </a:cubicBezTo>
                    <a:cubicBezTo>
                      <a:pt x="302" y="224"/>
                      <a:pt x="302" y="224"/>
                      <a:pt x="302" y="224"/>
                    </a:cubicBezTo>
                    <a:cubicBezTo>
                      <a:pt x="302" y="159"/>
                      <a:pt x="273" y="125"/>
                      <a:pt x="221" y="125"/>
                    </a:cubicBezTo>
                    <a:cubicBezTo>
                      <a:pt x="170" y="125"/>
                      <a:pt x="138" y="159"/>
                      <a:pt x="138" y="224"/>
                    </a:cubicBezTo>
                    <a:cubicBezTo>
                      <a:pt x="138" y="494"/>
                      <a:pt x="138" y="494"/>
                      <a:pt x="138"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7" name="Freeform 7">
                <a:extLst>
                  <a:ext uri="{FF2B5EF4-FFF2-40B4-BE49-F238E27FC236}">
                    <a16:creationId xmlns:a16="http://schemas.microsoft.com/office/drawing/2014/main" id="{8776387C-7DBE-0FBD-3AED-689433E76864}"/>
                  </a:ext>
                </a:extLst>
              </p:cNvPr>
              <p:cNvSpPr>
                <a:spLocks noEditPoints="1"/>
              </p:cNvSpPr>
              <p:nvPr/>
            </p:nvSpPr>
            <p:spPr bwMode="auto">
              <a:xfrm>
                <a:off x="6125971" y="567985"/>
                <a:ext cx="193713" cy="216764"/>
              </a:xfrm>
              <a:custGeom>
                <a:avLst/>
                <a:gdLst>
                  <a:gd name="T0" fmla="*/ 0 w 446"/>
                  <a:gd name="T1" fmla="*/ 351 h 499"/>
                  <a:gd name="T2" fmla="*/ 0 w 446"/>
                  <a:gd name="T3" fmla="*/ 349 h 499"/>
                  <a:gd name="T4" fmla="*/ 195 w 446"/>
                  <a:gd name="T5" fmla="*/ 194 h 499"/>
                  <a:gd name="T6" fmla="*/ 314 w 446"/>
                  <a:gd name="T7" fmla="*/ 214 h 499"/>
                  <a:gd name="T8" fmla="*/ 314 w 446"/>
                  <a:gd name="T9" fmla="*/ 206 h 499"/>
                  <a:gd name="T10" fmla="*/ 210 w 446"/>
                  <a:gd name="T11" fmla="*/ 117 h 499"/>
                  <a:gd name="T12" fmla="*/ 76 w 446"/>
                  <a:gd name="T13" fmla="*/ 144 h 499"/>
                  <a:gd name="T14" fmla="*/ 42 w 446"/>
                  <a:gd name="T15" fmla="*/ 39 h 499"/>
                  <a:gd name="T16" fmla="*/ 230 w 446"/>
                  <a:gd name="T17" fmla="*/ 0 h 499"/>
                  <a:gd name="T18" fmla="*/ 394 w 446"/>
                  <a:gd name="T19" fmla="*/ 54 h 499"/>
                  <a:gd name="T20" fmla="*/ 446 w 446"/>
                  <a:gd name="T21" fmla="*/ 209 h 499"/>
                  <a:gd name="T22" fmla="*/ 446 w 446"/>
                  <a:gd name="T23" fmla="*/ 490 h 499"/>
                  <a:gd name="T24" fmla="*/ 313 w 446"/>
                  <a:gd name="T25" fmla="*/ 490 h 499"/>
                  <a:gd name="T26" fmla="*/ 313 w 446"/>
                  <a:gd name="T27" fmla="*/ 438 h 499"/>
                  <a:gd name="T28" fmla="*/ 166 w 446"/>
                  <a:gd name="T29" fmla="*/ 499 h 499"/>
                  <a:gd name="T30" fmla="*/ 0 w 446"/>
                  <a:gd name="T31" fmla="*/ 351 h 499"/>
                  <a:gd name="T32" fmla="*/ 316 w 446"/>
                  <a:gd name="T33" fmla="*/ 319 h 499"/>
                  <a:gd name="T34" fmla="*/ 316 w 446"/>
                  <a:gd name="T35" fmla="*/ 295 h 499"/>
                  <a:gd name="T36" fmla="*/ 228 w 446"/>
                  <a:gd name="T37" fmla="*/ 277 h 499"/>
                  <a:gd name="T38" fmla="*/ 133 w 446"/>
                  <a:gd name="T39" fmla="*/ 344 h 499"/>
                  <a:gd name="T40" fmla="*/ 133 w 446"/>
                  <a:gd name="T41" fmla="*/ 346 h 499"/>
                  <a:gd name="T42" fmla="*/ 208 w 446"/>
                  <a:gd name="T43" fmla="*/ 404 h 499"/>
                  <a:gd name="T44" fmla="*/ 316 w 446"/>
                  <a:gd name="T45" fmla="*/ 31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499">
                    <a:moveTo>
                      <a:pt x="0" y="351"/>
                    </a:moveTo>
                    <a:cubicBezTo>
                      <a:pt x="0" y="349"/>
                      <a:pt x="0" y="349"/>
                      <a:pt x="0" y="349"/>
                    </a:cubicBezTo>
                    <a:cubicBezTo>
                      <a:pt x="0" y="243"/>
                      <a:pt x="80" y="194"/>
                      <a:pt x="195" y="194"/>
                    </a:cubicBezTo>
                    <a:cubicBezTo>
                      <a:pt x="244" y="194"/>
                      <a:pt x="280" y="202"/>
                      <a:pt x="314" y="214"/>
                    </a:cubicBezTo>
                    <a:cubicBezTo>
                      <a:pt x="314" y="206"/>
                      <a:pt x="314" y="206"/>
                      <a:pt x="314" y="206"/>
                    </a:cubicBezTo>
                    <a:cubicBezTo>
                      <a:pt x="314" y="149"/>
                      <a:pt x="279" y="117"/>
                      <a:pt x="210" y="117"/>
                    </a:cubicBezTo>
                    <a:cubicBezTo>
                      <a:pt x="157" y="117"/>
                      <a:pt x="120" y="127"/>
                      <a:pt x="76" y="144"/>
                    </a:cubicBezTo>
                    <a:cubicBezTo>
                      <a:pt x="42" y="39"/>
                      <a:pt x="42" y="39"/>
                      <a:pt x="42" y="39"/>
                    </a:cubicBezTo>
                    <a:cubicBezTo>
                      <a:pt x="95" y="15"/>
                      <a:pt x="147" y="0"/>
                      <a:pt x="230" y="0"/>
                    </a:cubicBezTo>
                    <a:cubicBezTo>
                      <a:pt x="305" y="0"/>
                      <a:pt x="359" y="20"/>
                      <a:pt x="394" y="54"/>
                    </a:cubicBezTo>
                    <a:cubicBezTo>
                      <a:pt x="430" y="90"/>
                      <a:pt x="446" y="144"/>
                      <a:pt x="446" y="209"/>
                    </a:cubicBezTo>
                    <a:cubicBezTo>
                      <a:pt x="446" y="490"/>
                      <a:pt x="446" y="490"/>
                      <a:pt x="446" y="490"/>
                    </a:cubicBezTo>
                    <a:cubicBezTo>
                      <a:pt x="313" y="490"/>
                      <a:pt x="313" y="490"/>
                      <a:pt x="313" y="490"/>
                    </a:cubicBezTo>
                    <a:cubicBezTo>
                      <a:pt x="313" y="438"/>
                      <a:pt x="313" y="438"/>
                      <a:pt x="313" y="438"/>
                    </a:cubicBezTo>
                    <a:cubicBezTo>
                      <a:pt x="280" y="475"/>
                      <a:pt x="233" y="499"/>
                      <a:pt x="166" y="499"/>
                    </a:cubicBezTo>
                    <a:cubicBezTo>
                      <a:pt x="75" y="499"/>
                      <a:pt x="0" y="447"/>
                      <a:pt x="0" y="351"/>
                    </a:cubicBezTo>
                    <a:close/>
                    <a:moveTo>
                      <a:pt x="316" y="319"/>
                    </a:moveTo>
                    <a:cubicBezTo>
                      <a:pt x="316" y="295"/>
                      <a:pt x="316" y="295"/>
                      <a:pt x="316" y="295"/>
                    </a:cubicBezTo>
                    <a:cubicBezTo>
                      <a:pt x="292" y="284"/>
                      <a:pt x="262" y="277"/>
                      <a:pt x="228" y="277"/>
                    </a:cubicBezTo>
                    <a:cubicBezTo>
                      <a:pt x="169" y="277"/>
                      <a:pt x="133" y="300"/>
                      <a:pt x="133" y="344"/>
                    </a:cubicBezTo>
                    <a:cubicBezTo>
                      <a:pt x="133" y="346"/>
                      <a:pt x="133" y="346"/>
                      <a:pt x="133" y="346"/>
                    </a:cubicBezTo>
                    <a:cubicBezTo>
                      <a:pt x="133" y="383"/>
                      <a:pt x="164" y="404"/>
                      <a:pt x="208" y="404"/>
                    </a:cubicBezTo>
                    <a:cubicBezTo>
                      <a:pt x="272" y="404"/>
                      <a:pt x="316" y="369"/>
                      <a:pt x="31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8" name="Freeform 8">
                <a:extLst>
                  <a:ext uri="{FF2B5EF4-FFF2-40B4-BE49-F238E27FC236}">
                    <a16:creationId xmlns:a16="http://schemas.microsoft.com/office/drawing/2014/main" id="{262E0FEC-2981-11B0-3D88-8A94D08178CF}"/>
                  </a:ext>
                </a:extLst>
              </p:cNvPr>
              <p:cNvSpPr>
                <a:spLocks/>
              </p:cNvSpPr>
              <p:nvPr/>
            </p:nvSpPr>
            <p:spPr bwMode="auto">
              <a:xfrm>
                <a:off x="6336529" y="564438"/>
                <a:ext cx="127665"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9" name="Freeform 9">
                <a:extLst>
                  <a:ext uri="{FF2B5EF4-FFF2-40B4-BE49-F238E27FC236}">
                    <a16:creationId xmlns:a16="http://schemas.microsoft.com/office/drawing/2014/main" id="{FECC1288-545E-BDB4-6462-3EE5544D7025}"/>
                  </a:ext>
                </a:extLst>
              </p:cNvPr>
              <p:cNvSpPr>
                <a:spLocks/>
              </p:cNvSpPr>
              <p:nvPr/>
            </p:nvSpPr>
            <p:spPr bwMode="auto">
              <a:xfrm>
                <a:off x="6475719" y="516121"/>
                <a:ext cx="134757" cy="268184"/>
              </a:xfrm>
              <a:custGeom>
                <a:avLst/>
                <a:gdLst>
                  <a:gd name="T0" fmla="*/ 58 w 310"/>
                  <a:gd name="T1" fmla="*/ 472 h 617"/>
                  <a:gd name="T2" fmla="*/ 58 w 310"/>
                  <a:gd name="T3" fmla="*/ 242 h 617"/>
                  <a:gd name="T4" fmla="*/ 0 w 310"/>
                  <a:gd name="T5" fmla="*/ 242 h 617"/>
                  <a:gd name="T6" fmla="*/ 0 w 310"/>
                  <a:gd name="T7" fmla="*/ 124 h 617"/>
                  <a:gd name="T8" fmla="*/ 58 w 310"/>
                  <a:gd name="T9" fmla="*/ 124 h 617"/>
                  <a:gd name="T10" fmla="*/ 58 w 310"/>
                  <a:gd name="T11" fmla="*/ 0 h 617"/>
                  <a:gd name="T12" fmla="*/ 196 w 310"/>
                  <a:gd name="T13" fmla="*/ 0 h 617"/>
                  <a:gd name="T14" fmla="*/ 196 w 310"/>
                  <a:gd name="T15" fmla="*/ 124 h 617"/>
                  <a:gd name="T16" fmla="*/ 310 w 310"/>
                  <a:gd name="T17" fmla="*/ 124 h 617"/>
                  <a:gd name="T18" fmla="*/ 310 w 310"/>
                  <a:gd name="T19" fmla="*/ 242 h 617"/>
                  <a:gd name="T20" fmla="*/ 196 w 310"/>
                  <a:gd name="T21" fmla="*/ 242 h 617"/>
                  <a:gd name="T22" fmla="*/ 196 w 310"/>
                  <a:gd name="T23" fmla="*/ 449 h 617"/>
                  <a:gd name="T24" fmla="*/ 240 w 310"/>
                  <a:gd name="T25" fmla="*/ 496 h 617"/>
                  <a:gd name="T26" fmla="*/ 308 w 310"/>
                  <a:gd name="T27" fmla="*/ 479 h 617"/>
                  <a:gd name="T28" fmla="*/ 308 w 310"/>
                  <a:gd name="T29" fmla="*/ 589 h 617"/>
                  <a:gd name="T30" fmla="*/ 199 w 310"/>
                  <a:gd name="T31" fmla="*/ 617 h 617"/>
                  <a:gd name="T32" fmla="*/ 58 w 310"/>
                  <a:gd name="T33" fmla="*/ 4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7">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6" y="0"/>
                      <a:pt x="196" y="0"/>
                      <a:pt x="196" y="0"/>
                    </a:cubicBezTo>
                    <a:cubicBezTo>
                      <a:pt x="196" y="124"/>
                      <a:pt x="196" y="124"/>
                      <a:pt x="196" y="124"/>
                    </a:cubicBezTo>
                    <a:cubicBezTo>
                      <a:pt x="310" y="124"/>
                      <a:pt x="310" y="124"/>
                      <a:pt x="310" y="124"/>
                    </a:cubicBezTo>
                    <a:cubicBezTo>
                      <a:pt x="310" y="242"/>
                      <a:pt x="310" y="242"/>
                      <a:pt x="310" y="242"/>
                    </a:cubicBezTo>
                    <a:cubicBezTo>
                      <a:pt x="196" y="242"/>
                      <a:pt x="196" y="242"/>
                      <a:pt x="196" y="242"/>
                    </a:cubicBezTo>
                    <a:cubicBezTo>
                      <a:pt x="196" y="449"/>
                      <a:pt x="196" y="449"/>
                      <a:pt x="196" y="449"/>
                    </a:cubicBezTo>
                    <a:cubicBezTo>
                      <a:pt x="196" y="481"/>
                      <a:pt x="209" y="496"/>
                      <a:pt x="240" y="496"/>
                    </a:cubicBezTo>
                    <a:cubicBezTo>
                      <a:pt x="265" y="496"/>
                      <a:pt x="288" y="490"/>
                      <a:pt x="308" y="479"/>
                    </a:cubicBezTo>
                    <a:cubicBezTo>
                      <a:pt x="308" y="589"/>
                      <a:pt x="308" y="589"/>
                      <a:pt x="308" y="589"/>
                    </a:cubicBezTo>
                    <a:cubicBezTo>
                      <a:pt x="279" y="607"/>
                      <a:pt x="245" y="617"/>
                      <a:pt x="199" y="617"/>
                    </a:cubicBezTo>
                    <a:cubicBezTo>
                      <a:pt x="115" y="617"/>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0" name="Freeform 10">
                <a:extLst>
                  <a:ext uri="{FF2B5EF4-FFF2-40B4-BE49-F238E27FC236}">
                    <a16:creationId xmlns:a16="http://schemas.microsoft.com/office/drawing/2014/main" id="{9DB49BE1-F1C8-5A4F-1BE7-B9C5B671A4B9}"/>
                  </a:ext>
                </a:extLst>
              </p:cNvPr>
              <p:cNvSpPr>
                <a:spLocks noEditPoints="1"/>
              </p:cNvSpPr>
              <p:nvPr/>
            </p:nvSpPr>
            <p:spPr bwMode="auto">
              <a:xfrm>
                <a:off x="6618455" y="566212"/>
                <a:ext cx="207012" cy="219424"/>
              </a:xfrm>
              <a:custGeom>
                <a:avLst/>
                <a:gdLst>
                  <a:gd name="T0" fmla="*/ 0 w 476"/>
                  <a:gd name="T1" fmla="*/ 254 h 505"/>
                  <a:gd name="T2" fmla="*/ 0 w 476"/>
                  <a:gd name="T3" fmla="*/ 253 h 505"/>
                  <a:gd name="T4" fmla="*/ 240 w 476"/>
                  <a:gd name="T5" fmla="*/ 0 h 505"/>
                  <a:gd name="T6" fmla="*/ 476 w 476"/>
                  <a:gd name="T7" fmla="*/ 263 h 505"/>
                  <a:gd name="T8" fmla="*/ 475 w 476"/>
                  <a:gd name="T9" fmla="*/ 300 h 505"/>
                  <a:gd name="T10" fmla="*/ 137 w 476"/>
                  <a:gd name="T11" fmla="*/ 300 h 505"/>
                  <a:gd name="T12" fmla="*/ 256 w 476"/>
                  <a:gd name="T13" fmla="*/ 395 h 505"/>
                  <a:gd name="T14" fmla="*/ 373 w 476"/>
                  <a:gd name="T15" fmla="*/ 345 h 505"/>
                  <a:gd name="T16" fmla="*/ 452 w 476"/>
                  <a:gd name="T17" fmla="*/ 415 h 505"/>
                  <a:gd name="T18" fmla="*/ 254 w 476"/>
                  <a:gd name="T19" fmla="*/ 505 h 505"/>
                  <a:gd name="T20" fmla="*/ 0 w 476"/>
                  <a:gd name="T21" fmla="*/ 254 h 505"/>
                  <a:gd name="T22" fmla="*/ 342 w 476"/>
                  <a:gd name="T23" fmla="*/ 214 h 505"/>
                  <a:gd name="T24" fmla="*/ 240 w 476"/>
                  <a:gd name="T25" fmla="*/ 111 h 505"/>
                  <a:gd name="T26" fmla="*/ 135 w 476"/>
                  <a:gd name="T27" fmla="*/ 214 h 505"/>
                  <a:gd name="T28" fmla="*/ 342 w 476"/>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05">
                    <a:moveTo>
                      <a:pt x="0" y="254"/>
                    </a:moveTo>
                    <a:cubicBezTo>
                      <a:pt x="0" y="253"/>
                      <a:pt x="0" y="253"/>
                      <a:pt x="0" y="253"/>
                    </a:cubicBezTo>
                    <a:cubicBezTo>
                      <a:pt x="0" y="114"/>
                      <a:pt x="99" y="0"/>
                      <a:pt x="240" y="0"/>
                    </a:cubicBezTo>
                    <a:cubicBezTo>
                      <a:pt x="402" y="0"/>
                      <a:pt x="476" y="126"/>
                      <a:pt x="476" y="263"/>
                    </a:cubicBezTo>
                    <a:cubicBezTo>
                      <a:pt x="476"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2" y="214"/>
                    </a:moveTo>
                    <a:cubicBezTo>
                      <a:pt x="334" y="152"/>
                      <a:pt x="298" y="111"/>
                      <a:pt x="240" y="111"/>
                    </a:cubicBezTo>
                    <a:cubicBezTo>
                      <a:pt x="183" y="111"/>
                      <a:pt x="146" y="151"/>
                      <a:pt x="135" y="214"/>
                    </a:cubicBezTo>
                    <a:lnTo>
                      <a:pt x="342"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1" name="Freeform 11">
                <a:extLst>
                  <a:ext uri="{FF2B5EF4-FFF2-40B4-BE49-F238E27FC236}">
                    <a16:creationId xmlns:a16="http://schemas.microsoft.com/office/drawing/2014/main" id="{5700CEE7-82FA-F314-D150-00348A9C1993}"/>
                  </a:ext>
                </a:extLst>
              </p:cNvPr>
              <p:cNvSpPr>
                <a:spLocks/>
              </p:cNvSpPr>
              <p:nvPr/>
            </p:nvSpPr>
            <p:spPr bwMode="auto">
              <a:xfrm>
                <a:off x="6837879" y="564438"/>
                <a:ext cx="127221"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2" name="Freeform 12">
                <a:extLst>
                  <a:ext uri="{FF2B5EF4-FFF2-40B4-BE49-F238E27FC236}">
                    <a16:creationId xmlns:a16="http://schemas.microsoft.com/office/drawing/2014/main" id="{FC0AB9F7-3D02-4537-31F6-D98B2250C9F3}"/>
                  </a:ext>
                </a:extLst>
              </p:cNvPr>
              <p:cNvSpPr>
                <a:spLocks/>
              </p:cNvSpPr>
              <p:nvPr/>
            </p:nvSpPr>
            <p:spPr bwMode="auto">
              <a:xfrm>
                <a:off x="4988072" y="888476"/>
                <a:ext cx="134757" cy="268628"/>
              </a:xfrm>
              <a:custGeom>
                <a:avLst/>
                <a:gdLst>
                  <a:gd name="T0" fmla="*/ 58 w 310"/>
                  <a:gd name="T1" fmla="*/ 472 h 618"/>
                  <a:gd name="T2" fmla="*/ 58 w 310"/>
                  <a:gd name="T3" fmla="*/ 242 h 618"/>
                  <a:gd name="T4" fmla="*/ 0 w 310"/>
                  <a:gd name="T5" fmla="*/ 242 h 618"/>
                  <a:gd name="T6" fmla="*/ 0 w 310"/>
                  <a:gd name="T7" fmla="*/ 124 h 618"/>
                  <a:gd name="T8" fmla="*/ 58 w 310"/>
                  <a:gd name="T9" fmla="*/ 124 h 618"/>
                  <a:gd name="T10" fmla="*/ 58 w 310"/>
                  <a:gd name="T11" fmla="*/ 0 h 618"/>
                  <a:gd name="T12" fmla="*/ 195 w 310"/>
                  <a:gd name="T13" fmla="*/ 0 h 618"/>
                  <a:gd name="T14" fmla="*/ 195 w 310"/>
                  <a:gd name="T15" fmla="*/ 124 h 618"/>
                  <a:gd name="T16" fmla="*/ 310 w 310"/>
                  <a:gd name="T17" fmla="*/ 124 h 618"/>
                  <a:gd name="T18" fmla="*/ 310 w 310"/>
                  <a:gd name="T19" fmla="*/ 242 h 618"/>
                  <a:gd name="T20" fmla="*/ 195 w 310"/>
                  <a:gd name="T21" fmla="*/ 242 h 618"/>
                  <a:gd name="T22" fmla="*/ 195 w 310"/>
                  <a:gd name="T23" fmla="*/ 449 h 618"/>
                  <a:gd name="T24" fmla="*/ 240 w 310"/>
                  <a:gd name="T25" fmla="*/ 496 h 618"/>
                  <a:gd name="T26" fmla="*/ 308 w 310"/>
                  <a:gd name="T27" fmla="*/ 479 h 618"/>
                  <a:gd name="T28" fmla="*/ 308 w 310"/>
                  <a:gd name="T29" fmla="*/ 590 h 618"/>
                  <a:gd name="T30" fmla="*/ 199 w 310"/>
                  <a:gd name="T31" fmla="*/ 618 h 618"/>
                  <a:gd name="T32" fmla="*/ 58 w 310"/>
                  <a:gd name="T33" fmla="*/ 47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8">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5" y="0"/>
                      <a:pt x="195" y="0"/>
                      <a:pt x="195" y="0"/>
                    </a:cubicBezTo>
                    <a:cubicBezTo>
                      <a:pt x="195" y="124"/>
                      <a:pt x="195" y="124"/>
                      <a:pt x="195" y="124"/>
                    </a:cubicBezTo>
                    <a:cubicBezTo>
                      <a:pt x="310" y="124"/>
                      <a:pt x="310" y="124"/>
                      <a:pt x="310" y="124"/>
                    </a:cubicBezTo>
                    <a:cubicBezTo>
                      <a:pt x="310" y="242"/>
                      <a:pt x="310" y="242"/>
                      <a:pt x="310" y="242"/>
                    </a:cubicBezTo>
                    <a:cubicBezTo>
                      <a:pt x="195" y="242"/>
                      <a:pt x="195" y="242"/>
                      <a:pt x="195" y="242"/>
                    </a:cubicBezTo>
                    <a:cubicBezTo>
                      <a:pt x="195" y="449"/>
                      <a:pt x="195" y="449"/>
                      <a:pt x="195" y="449"/>
                    </a:cubicBezTo>
                    <a:cubicBezTo>
                      <a:pt x="195" y="481"/>
                      <a:pt x="209" y="496"/>
                      <a:pt x="240" y="496"/>
                    </a:cubicBezTo>
                    <a:cubicBezTo>
                      <a:pt x="265" y="496"/>
                      <a:pt x="288" y="490"/>
                      <a:pt x="308" y="479"/>
                    </a:cubicBezTo>
                    <a:cubicBezTo>
                      <a:pt x="308" y="590"/>
                      <a:pt x="308" y="590"/>
                      <a:pt x="308" y="590"/>
                    </a:cubicBezTo>
                    <a:cubicBezTo>
                      <a:pt x="279" y="607"/>
                      <a:pt x="245" y="618"/>
                      <a:pt x="199" y="618"/>
                    </a:cubicBezTo>
                    <a:cubicBezTo>
                      <a:pt x="115" y="618"/>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3" name="Freeform 13">
                <a:extLst>
                  <a:ext uri="{FF2B5EF4-FFF2-40B4-BE49-F238E27FC236}">
                    <a16:creationId xmlns:a16="http://schemas.microsoft.com/office/drawing/2014/main" id="{12D11DBC-90A7-4337-F6CB-C20DBD872CBD}"/>
                  </a:ext>
                </a:extLst>
              </p:cNvPr>
              <p:cNvSpPr>
                <a:spLocks noEditPoints="1"/>
              </p:cNvSpPr>
              <p:nvPr/>
            </p:nvSpPr>
            <p:spPr bwMode="auto">
              <a:xfrm>
                <a:off x="5131251" y="938123"/>
                <a:ext cx="207455" cy="219867"/>
              </a:xfrm>
              <a:custGeom>
                <a:avLst/>
                <a:gdLst>
                  <a:gd name="T0" fmla="*/ 0 w 477"/>
                  <a:gd name="T1" fmla="*/ 254 h 505"/>
                  <a:gd name="T2" fmla="*/ 0 w 477"/>
                  <a:gd name="T3" fmla="*/ 253 h 505"/>
                  <a:gd name="T4" fmla="*/ 240 w 477"/>
                  <a:gd name="T5" fmla="*/ 0 h 505"/>
                  <a:gd name="T6" fmla="*/ 477 w 477"/>
                  <a:gd name="T7" fmla="*/ 263 h 505"/>
                  <a:gd name="T8" fmla="*/ 475 w 477"/>
                  <a:gd name="T9" fmla="*/ 300 h 505"/>
                  <a:gd name="T10" fmla="*/ 137 w 477"/>
                  <a:gd name="T11" fmla="*/ 300 h 505"/>
                  <a:gd name="T12" fmla="*/ 256 w 477"/>
                  <a:gd name="T13" fmla="*/ 395 h 505"/>
                  <a:gd name="T14" fmla="*/ 373 w 477"/>
                  <a:gd name="T15" fmla="*/ 345 h 505"/>
                  <a:gd name="T16" fmla="*/ 452 w 477"/>
                  <a:gd name="T17" fmla="*/ 415 h 505"/>
                  <a:gd name="T18" fmla="*/ 254 w 477"/>
                  <a:gd name="T19" fmla="*/ 505 h 505"/>
                  <a:gd name="T20" fmla="*/ 0 w 477"/>
                  <a:gd name="T21" fmla="*/ 254 h 505"/>
                  <a:gd name="T22" fmla="*/ 343 w 477"/>
                  <a:gd name="T23" fmla="*/ 214 h 505"/>
                  <a:gd name="T24" fmla="*/ 240 w 477"/>
                  <a:gd name="T25" fmla="*/ 111 h 505"/>
                  <a:gd name="T26" fmla="*/ 135 w 477"/>
                  <a:gd name="T27" fmla="*/ 214 h 505"/>
                  <a:gd name="T28" fmla="*/ 343 w 477"/>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 h="505">
                    <a:moveTo>
                      <a:pt x="0" y="254"/>
                    </a:moveTo>
                    <a:cubicBezTo>
                      <a:pt x="0" y="253"/>
                      <a:pt x="0" y="253"/>
                      <a:pt x="0" y="253"/>
                    </a:cubicBezTo>
                    <a:cubicBezTo>
                      <a:pt x="0" y="114"/>
                      <a:pt x="99" y="0"/>
                      <a:pt x="240" y="0"/>
                    </a:cubicBezTo>
                    <a:cubicBezTo>
                      <a:pt x="402" y="0"/>
                      <a:pt x="477" y="126"/>
                      <a:pt x="477" y="263"/>
                    </a:cubicBezTo>
                    <a:cubicBezTo>
                      <a:pt x="477"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3" y="214"/>
                    </a:moveTo>
                    <a:cubicBezTo>
                      <a:pt x="334" y="152"/>
                      <a:pt x="298" y="111"/>
                      <a:pt x="240" y="111"/>
                    </a:cubicBezTo>
                    <a:cubicBezTo>
                      <a:pt x="183" y="111"/>
                      <a:pt x="146" y="151"/>
                      <a:pt x="135" y="214"/>
                    </a:cubicBezTo>
                    <a:lnTo>
                      <a:pt x="34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4" name="Freeform 14">
                <a:extLst>
                  <a:ext uri="{FF2B5EF4-FFF2-40B4-BE49-F238E27FC236}">
                    <a16:creationId xmlns:a16="http://schemas.microsoft.com/office/drawing/2014/main" id="{F524D8E9-37C3-A27E-30E8-DF8ACF25D41F}"/>
                  </a:ext>
                </a:extLst>
              </p:cNvPr>
              <p:cNvSpPr>
                <a:spLocks/>
              </p:cNvSpPr>
              <p:nvPr/>
            </p:nvSpPr>
            <p:spPr bwMode="auto">
              <a:xfrm>
                <a:off x="5348015" y="938123"/>
                <a:ext cx="195486" cy="219867"/>
              </a:xfrm>
              <a:custGeom>
                <a:avLst/>
                <a:gdLst>
                  <a:gd name="T0" fmla="*/ 0 w 450"/>
                  <a:gd name="T1" fmla="*/ 254 h 505"/>
                  <a:gd name="T2" fmla="*/ 0 w 450"/>
                  <a:gd name="T3" fmla="*/ 253 h 505"/>
                  <a:gd name="T4" fmla="*/ 254 w 450"/>
                  <a:gd name="T5" fmla="*/ 0 h 505"/>
                  <a:gd name="T6" fmla="*/ 448 w 450"/>
                  <a:gd name="T7" fmla="*/ 82 h 505"/>
                  <a:gd name="T8" fmla="*/ 363 w 450"/>
                  <a:gd name="T9" fmla="*/ 172 h 505"/>
                  <a:gd name="T10" fmla="*/ 253 w 450"/>
                  <a:gd name="T11" fmla="*/ 119 h 505"/>
                  <a:gd name="T12" fmla="*/ 135 w 450"/>
                  <a:gd name="T13" fmla="*/ 251 h 505"/>
                  <a:gd name="T14" fmla="*/ 135 w 450"/>
                  <a:gd name="T15" fmla="*/ 253 h 505"/>
                  <a:gd name="T16" fmla="*/ 258 w 450"/>
                  <a:gd name="T17" fmla="*/ 387 h 505"/>
                  <a:gd name="T18" fmla="*/ 370 w 450"/>
                  <a:gd name="T19" fmla="*/ 335 h 505"/>
                  <a:gd name="T20" fmla="*/ 450 w 450"/>
                  <a:gd name="T21" fmla="*/ 416 h 505"/>
                  <a:gd name="T22" fmla="*/ 252 w 450"/>
                  <a:gd name="T23" fmla="*/ 505 h 505"/>
                  <a:gd name="T24" fmla="*/ 0 w 450"/>
                  <a:gd name="T25"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505">
                    <a:moveTo>
                      <a:pt x="0" y="254"/>
                    </a:moveTo>
                    <a:cubicBezTo>
                      <a:pt x="0" y="253"/>
                      <a:pt x="0" y="253"/>
                      <a:pt x="0" y="253"/>
                    </a:cubicBezTo>
                    <a:cubicBezTo>
                      <a:pt x="0" y="114"/>
                      <a:pt x="106" y="0"/>
                      <a:pt x="254" y="0"/>
                    </a:cubicBezTo>
                    <a:cubicBezTo>
                      <a:pt x="345" y="0"/>
                      <a:pt x="402" y="31"/>
                      <a:pt x="448" y="82"/>
                    </a:cubicBezTo>
                    <a:cubicBezTo>
                      <a:pt x="363" y="172"/>
                      <a:pt x="363" y="172"/>
                      <a:pt x="363" y="172"/>
                    </a:cubicBezTo>
                    <a:cubicBezTo>
                      <a:pt x="333" y="139"/>
                      <a:pt x="302" y="119"/>
                      <a:pt x="253" y="119"/>
                    </a:cubicBezTo>
                    <a:cubicBezTo>
                      <a:pt x="184" y="119"/>
                      <a:pt x="135" y="179"/>
                      <a:pt x="135" y="251"/>
                    </a:cubicBezTo>
                    <a:cubicBezTo>
                      <a:pt x="135" y="253"/>
                      <a:pt x="135" y="253"/>
                      <a:pt x="135" y="253"/>
                    </a:cubicBezTo>
                    <a:cubicBezTo>
                      <a:pt x="135" y="327"/>
                      <a:pt x="183" y="387"/>
                      <a:pt x="258" y="387"/>
                    </a:cubicBezTo>
                    <a:cubicBezTo>
                      <a:pt x="305" y="387"/>
                      <a:pt x="336" y="367"/>
                      <a:pt x="370" y="335"/>
                    </a:cubicBezTo>
                    <a:cubicBezTo>
                      <a:pt x="450" y="416"/>
                      <a:pt x="450" y="416"/>
                      <a:pt x="450" y="416"/>
                    </a:cubicBezTo>
                    <a:cubicBezTo>
                      <a:pt x="403" y="468"/>
                      <a:pt x="349" y="505"/>
                      <a:pt x="252" y="505"/>
                    </a:cubicBezTo>
                    <a:cubicBezTo>
                      <a:pt x="106" y="505"/>
                      <a:pt x="0" y="393"/>
                      <a:pt x="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5" name="Freeform 15">
                <a:extLst>
                  <a:ext uri="{FF2B5EF4-FFF2-40B4-BE49-F238E27FC236}">
                    <a16:creationId xmlns:a16="http://schemas.microsoft.com/office/drawing/2014/main" id="{083673F6-E265-4005-D62C-293234A8CE09}"/>
                  </a:ext>
                </a:extLst>
              </p:cNvPr>
              <p:cNvSpPr>
                <a:spLocks/>
              </p:cNvSpPr>
              <p:nvPr/>
            </p:nvSpPr>
            <p:spPr bwMode="auto">
              <a:xfrm>
                <a:off x="5553254" y="866312"/>
                <a:ext cx="193270" cy="286802"/>
              </a:xfrm>
              <a:custGeom>
                <a:avLst/>
                <a:gdLst>
                  <a:gd name="T0" fmla="*/ 0 w 445"/>
                  <a:gd name="T1" fmla="*/ 0 h 660"/>
                  <a:gd name="T2" fmla="*/ 138 w 445"/>
                  <a:gd name="T3" fmla="*/ 0 h 660"/>
                  <a:gd name="T4" fmla="*/ 138 w 445"/>
                  <a:gd name="T5" fmla="*/ 244 h 660"/>
                  <a:gd name="T6" fmla="*/ 280 w 445"/>
                  <a:gd name="T7" fmla="*/ 166 h 660"/>
                  <a:gd name="T8" fmla="*/ 445 w 445"/>
                  <a:gd name="T9" fmla="*/ 346 h 660"/>
                  <a:gd name="T10" fmla="*/ 445 w 445"/>
                  <a:gd name="T11" fmla="*/ 660 h 660"/>
                  <a:gd name="T12" fmla="*/ 307 w 445"/>
                  <a:gd name="T13" fmla="*/ 660 h 660"/>
                  <a:gd name="T14" fmla="*/ 307 w 445"/>
                  <a:gd name="T15" fmla="*/ 390 h 660"/>
                  <a:gd name="T16" fmla="*/ 224 w 445"/>
                  <a:gd name="T17" fmla="*/ 291 h 660"/>
                  <a:gd name="T18" fmla="*/ 138 w 445"/>
                  <a:gd name="T19" fmla="*/ 390 h 660"/>
                  <a:gd name="T20" fmla="*/ 138 w 445"/>
                  <a:gd name="T21" fmla="*/ 660 h 660"/>
                  <a:gd name="T22" fmla="*/ 0 w 445"/>
                  <a:gd name="T23" fmla="*/ 660 h 660"/>
                  <a:gd name="T24" fmla="*/ 0 w 445"/>
                  <a:gd name="T2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660">
                    <a:moveTo>
                      <a:pt x="0" y="0"/>
                    </a:moveTo>
                    <a:cubicBezTo>
                      <a:pt x="138" y="0"/>
                      <a:pt x="138" y="0"/>
                      <a:pt x="138" y="0"/>
                    </a:cubicBezTo>
                    <a:cubicBezTo>
                      <a:pt x="138" y="244"/>
                      <a:pt x="138" y="244"/>
                      <a:pt x="138" y="244"/>
                    </a:cubicBezTo>
                    <a:cubicBezTo>
                      <a:pt x="169" y="203"/>
                      <a:pt x="210" y="166"/>
                      <a:pt x="280" y="166"/>
                    </a:cubicBezTo>
                    <a:cubicBezTo>
                      <a:pt x="384" y="166"/>
                      <a:pt x="445" y="235"/>
                      <a:pt x="445" y="346"/>
                    </a:cubicBezTo>
                    <a:cubicBezTo>
                      <a:pt x="445" y="660"/>
                      <a:pt x="445" y="660"/>
                      <a:pt x="445" y="660"/>
                    </a:cubicBezTo>
                    <a:cubicBezTo>
                      <a:pt x="307" y="660"/>
                      <a:pt x="307" y="660"/>
                      <a:pt x="307" y="660"/>
                    </a:cubicBezTo>
                    <a:cubicBezTo>
                      <a:pt x="307" y="390"/>
                      <a:pt x="307" y="390"/>
                      <a:pt x="307" y="390"/>
                    </a:cubicBezTo>
                    <a:cubicBezTo>
                      <a:pt x="307" y="324"/>
                      <a:pt x="276" y="291"/>
                      <a:pt x="224" y="291"/>
                    </a:cubicBezTo>
                    <a:cubicBezTo>
                      <a:pt x="171" y="291"/>
                      <a:pt x="138" y="324"/>
                      <a:pt x="138" y="390"/>
                    </a:cubicBezTo>
                    <a:cubicBezTo>
                      <a:pt x="138" y="660"/>
                      <a:pt x="138" y="660"/>
                      <a:pt x="138" y="660"/>
                    </a:cubicBezTo>
                    <a:cubicBezTo>
                      <a:pt x="0" y="660"/>
                      <a:pt x="0" y="660"/>
                      <a:pt x="0" y="66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6" name="Freeform 16">
                <a:extLst>
                  <a:ext uri="{FF2B5EF4-FFF2-40B4-BE49-F238E27FC236}">
                    <a16:creationId xmlns:a16="http://schemas.microsoft.com/office/drawing/2014/main" id="{4F04928C-BA06-2085-F636-A4F44FC6E987}"/>
                  </a:ext>
                </a:extLst>
              </p:cNvPr>
              <p:cNvSpPr>
                <a:spLocks/>
              </p:cNvSpPr>
              <p:nvPr/>
            </p:nvSpPr>
            <p:spPr bwMode="auto">
              <a:xfrm>
                <a:off x="5762039" y="938123"/>
                <a:ext cx="192827" cy="214991"/>
              </a:xfrm>
              <a:custGeom>
                <a:avLst/>
                <a:gdLst>
                  <a:gd name="T0" fmla="*/ 0 w 444"/>
                  <a:gd name="T1" fmla="*/ 9 h 494"/>
                  <a:gd name="T2" fmla="*/ 137 w 444"/>
                  <a:gd name="T3" fmla="*/ 9 h 494"/>
                  <a:gd name="T4" fmla="*/ 137 w 444"/>
                  <a:gd name="T5" fmla="*/ 78 h 494"/>
                  <a:gd name="T6" fmla="*/ 279 w 444"/>
                  <a:gd name="T7" fmla="*/ 0 h 494"/>
                  <a:gd name="T8" fmla="*/ 444 w 444"/>
                  <a:gd name="T9" fmla="*/ 180 h 494"/>
                  <a:gd name="T10" fmla="*/ 444 w 444"/>
                  <a:gd name="T11" fmla="*/ 494 h 494"/>
                  <a:gd name="T12" fmla="*/ 306 w 444"/>
                  <a:gd name="T13" fmla="*/ 494 h 494"/>
                  <a:gd name="T14" fmla="*/ 306 w 444"/>
                  <a:gd name="T15" fmla="*/ 224 h 494"/>
                  <a:gd name="T16" fmla="*/ 223 w 444"/>
                  <a:gd name="T17" fmla="*/ 125 h 494"/>
                  <a:gd name="T18" fmla="*/ 137 w 444"/>
                  <a:gd name="T19" fmla="*/ 224 h 494"/>
                  <a:gd name="T20" fmla="*/ 137 w 444"/>
                  <a:gd name="T21" fmla="*/ 494 h 494"/>
                  <a:gd name="T22" fmla="*/ 0 w 444"/>
                  <a:gd name="T23" fmla="*/ 494 h 494"/>
                  <a:gd name="T24" fmla="*/ 0 w 444"/>
                  <a:gd name="T25"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94">
                    <a:moveTo>
                      <a:pt x="0" y="9"/>
                    </a:moveTo>
                    <a:cubicBezTo>
                      <a:pt x="137" y="9"/>
                      <a:pt x="137" y="9"/>
                      <a:pt x="137" y="9"/>
                    </a:cubicBezTo>
                    <a:cubicBezTo>
                      <a:pt x="137" y="78"/>
                      <a:pt x="137" y="78"/>
                      <a:pt x="137" y="78"/>
                    </a:cubicBezTo>
                    <a:cubicBezTo>
                      <a:pt x="169" y="37"/>
                      <a:pt x="210" y="0"/>
                      <a:pt x="279" y="0"/>
                    </a:cubicBezTo>
                    <a:cubicBezTo>
                      <a:pt x="383" y="0"/>
                      <a:pt x="444" y="69"/>
                      <a:pt x="444" y="180"/>
                    </a:cubicBezTo>
                    <a:cubicBezTo>
                      <a:pt x="444" y="494"/>
                      <a:pt x="444" y="494"/>
                      <a:pt x="444" y="494"/>
                    </a:cubicBezTo>
                    <a:cubicBezTo>
                      <a:pt x="306" y="494"/>
                      <a:pt x="306" y="494"/>
                      <a:pt x="306" y="494"/>
                    </a:cubicBezTo>
                    <a:cubicBezTo>
                      <a:pt x="306" y="224"/>
                      <a:pt x="306" y="224"/>
                      <a:pt x="306" y="224"/>
                    </a:cubicBezTo>
                    <a:cubicBezTo>
                      <a:pt x="306" y="158"/>
                      <a:pt x="276" y="125"/>
                      <a:pt x="223" y="125"/>
                    </a:cubicBezTo>
                    <a:cubicBezTo>
                      <a:pt x="171" y="125"/>
                      <a:pt x="137" y="158"/>
                      <a:pt x="137" y="224"/>
                    </a:cubicBezTo>
                    <a:cubicBezTo>
                      <a:pt x="137" y="494"/>
                      <a:pt x="137" y="494"/>
                      <a:pt x="137"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7" name="Freeform 17">
                <a:extLst>
                  <a:ext uri="{FF2B5EF4-FFF2-40B4-BE49-F238E27FC236}">
                    <a16:creationId xmlns:a16="http://schemas.microsoft.com/office/drawing/2014/main" id="{0B7609F1-6889-0F3F-1078-1078D3AEDAE7}"/>
                  </a:ext>
                </a:extLst>
              </p:cNvPr>
              <p:cNvSpPr>
                <a:spLocks noEditPoints="1"/>
              </p:cNvSpPr>
              <p:nvPr/>
            </p:nvSpPr>
            <p:spPr bwMode="auto">
              <a:xfrm>
                <a:off x="5967277" y="938123"/>
                <a:ext cx="228289" cy="219867"/>
              </a:xfrm>
              <a:custGeom>
                <a:avLst/>
                <a:gdLst>
                  <a:gd name="T0" fmla="*/ 0 w 525"/>
                  <a:gd name="T1" fmla="*/ 254 h 505"/>
                  <a:gd name="T2" fmla="*/ 0 w 525"/>
                  <a:gd name="T3" fmla="*/ 253 h 505"/>
                  <a:gd name="T4" fmla="*/ 263 w 525"/>
                  <a:gd name="T5" fmla="*/ 0 h 505"/>
                  <a:gd name="T6" fmla="*/ 525 w 525"/>
                  <a:gd name="T7" fmla="*/ 251 h 505"/>
                  <a:gd name="T8" fmla="*/ 525 w 525"/>
                  <a:gd name="T9" fmla="*/ 253 h 505"/>
                  <a:gd name="T10" fmla="*/ 262 w 525"/>
                  <a:gd name="T11" fmla="*/ 505 h 505"/>
                  <a:gd name="T12" fmla="*/ 0 w 525"/>
                  <a:gd name="T13" fmla="*/ 254 h 505"/>
                  <a:gd name="T14" fmla="*/ 389 w 525"/>
                  <a:gd name="T15" fmla="*/ 254 h 505"/>
                  <a:gd name="T16" fmla="*/ 389 w 525"/>
                  <a:gd name="T17" fmla="*/ 253 h 505"/>
                  <a:gd name="T18" fmla="*/ 262 w 525"/>
                  <a:gd name="T19" fmla="*/ 119 h 505"/>
                  <a:gd name="T20" fmla="*/ 136 w 525"/>
                  <a:gd name="T21" fmla="*/ 251 h 505"/>
                  <a:gd name="T22" fmla="*/ 136 w 525"/>
                  <a:gd name="T23" fmla="*/ 253 h 505"/>
                  <a:gd name="T24" fmla="*/ 263 w 525"/>
                  <a:gd name="T25" fmla="*/ 387 h 505"/>
                  <a:gd name="T26" fmla="*/ 389 w 525"/>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5">
                    <a:moveTo>
                      <a:pt x="0" y="254"/>
                    </a:moveTo>
                    <a:cubicBezTo>
                      <a:pt x="0" y="253"/>
                      <a:pt x="0" y="253"/>
                      <a:pt x="0" y="253"/>
                    </a:cubicBezTo>
                    <a:cubicBezTo>
                      <a:pt x="0" y="113"/>
                      <a:pt x="112" y="0"/>
                      <a:pt x="263" y="0"/>
                    </a:cubicBezTo>
                    <a:cubicBezTo>
                      <a:pt x="414" y="0"/>
                      <a:pt x="525" y="111"/>
                      <a:pt x="525" y="251"/>
                    </a:cubicBezTo>
                    <a:cubicBezTo>
                      <a:pt x="525" y="253"/>
                      <a:pt x="525" y="253"/>
                      <a:pt x="525" y="253"/>
                    </a:cubicBezTo>
                    <a:cubicBezTo>
                      <a:pt x="525" y="392"/>
                      <a:pt x="413" y="505"/>
                      <a:pt x="262" y="505"/>
                    </a:cubicBezTo>
                    <a:cubicBezTo>
                      <a:pt x="111" y="505"/>
                      <a:pt x="0" y="394"/>
                      <a:pt x="0" y="254"/>
                    </a:cubicBezTo>
                    <a:close/>
                    <a:moveTo>
                      <a:pt x="389" y="254"/>
                    </a:moveTo>
                    <a:cubicBezTo>
                      <a:pt x="389" y="253"/>
                      <a:pt x="389" y="253"/>
                      <a:pt x="389" y="253"/>
                    </a:cubicBezTo>
                    <a:cubicBezTo>
                      <a:pt x="389" y="181"/>
                      <a:pt x="338" y="119"/>
                      <a:pt x="262" y="119"/>
                    </a:cubicBezTo>
                    <a:cubicBezTo>
                      <a:pt x="183" y="119"/>
                      <a:pt x="136" y="179"/>
                      <a:pt x="136" y="251"/>
                    </a:cubicBezTo>
                    <a:cubicBezTo>
                      <a:pt x="136" y="253"/>
                      <a:pt x="136" y="253"/>
                      <a:pt x="136" y="253"/>
                    </a:cubicBezTo>
                    <a:cubicBezTo>
                      <a:pt x="136" y="324"/>
                      <a:pt x="187" y="387"/>
                      <a:pt x="263" y="387"/>
                    </a:cubicBezTo>
                    <a:cubicBezTo>
                      <a:pt x="342" y="387"/>
                      <a:pt x="389" y="326"/>
                      <a:pt x="389"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8" name="Rectangle 18">
                <a:extLst>
                  <a:ext uri="{FF2B5EF4-FFF2-40B4-BE49-F238E27FC236}">
                    <a16:creationId xmlns:a16="http://schemas.microsoft.com/office/drawing/2014/main" id="{14DEDB85-DF79-F93C-595F-4B0E6B36F339}"/>
                  </a:ext>
                </a:extLst>
              </p:cNvPr>
              <p:cNvSpPr>
                <a:spLocks noChangeArrowheads="1"/>
              </p:cNvSpPr>
              <p:nvPr/>
            </p:nvSpPr>
            <p:spPr bwMode="auto">
              <a:xfrm>
                <a:off x="6207091" y="866312"/>
                <a:ext cx="59843" cy="2868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9" name="Freeform 19">
                <a:extLst>
                  <a:ext uri="{FF2B5EF4-FFF2-40B4-BE49-F238E27FC236}">
                    <a16:creationId xmlns:a16="http://schemas.microsoft.com/office/drawing/2014/main" id="{481DD98C-1DDB-14FF-BA62-46FAD00BAA89}"/>
                  </a:ext>
                </a:extLst>
              </p:cNvPr>
              <p:cNvSpPr>
                <a:spLocks noEditPoints="1"/>
              </p:cNvSpPr>
              <p:nvPr/>
            </p:nvSpPr>
            <p:spPr bwMode="auto">
              <a:xfrm>
                <a:off x="6278460" y="938123"/>
                <a:ext cx="228732" cy="219867"/>
              </a:xfrm>
              <a:custGeom>
                <a:avLst/>
                <a:gdLst>
                  <a:gd name="T0" fmla="*/ 0 w 526"/>
                  <a:gd name="T1" fmla="*/ 254 h 505"/>
                  <a:gd name="T2" fmla="*/ 0 w 526"/>
                  <a:gd name="T3" fmla="*/ 253 h 505"/>
                  <a:gd name="T4" fmla="*/ 264 w 526"/>
                  <a:gd name="T5" fmla="*/ 0 h 505"/>
                  <a:gd name="T6" fmla="*/ 526 w 526"/>
                  <a:gd name="T7" fmla="*/ 251 h 505"/>
                  <a:gd name="T8" fmla="*/ 526 w 526"/>
                  <a:gd name="T9" fmla="*/ 253 h 505"/>
                  <a:gd name="T10" fmla="*/ 262 w 526"/>
                  <a:gd name="T11" fmla="*/ 505 h 505"/>
                  <a:gd name="T12" fmla="*/ 0 w 526"/>
                  <a:gd name="T13" fmla="*/ 254 h 505"/>
                  <a:gd name="T14" fmla="*/ 390 w 526"/>
                  <a:gd name="T15" fmla="*/ 254 h 505"/>
                  <a:gd name="T16" fmla="*/ 390 w 526"/>
                  <a:gd name="T17" fmla="*/ 253 h 505"/>
                  <a:gd name="T18" fmla="*/ 262 w 526"/>
                  <a:gd name="T19" fmla="*/ 119 h 505"/>
                  <a:gd name="T20" fmla="*/ 136 w 526"/>
                  <a:gd name="T21" fmla="*/ 251 h 505"/>
                  <a:gd name="T22" fmla="*/ 136 w 526"/>
                  <a:gd name="T23" fmla="*/ 253 h 505"/>
                  <a:gd name="T24" fmla="*/ 264 w 526"/>
                  <a:gd name="T25" fmla="*/ 387 h 505"/>
                  <a:gd name="T26" fmla="*/ 390 w 526"/>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05">
                    <a:moveTo>
                      <a:pt x="0" y="254"/>
                    </a:moveTo>
                    <a:cubicBezTo>
                      <a:pt x="0" y="253"/>
                      <a:pt x="0" y="253"/>
                      <a:pt x="0" y="253"/>
                    </a:cubicBezTo>
                    <a:cubicBezTo>
                      <a:pt x="0" y="113"/>
                      <a:pt x="113" y="0"/>
                      <a:pt x="264" y="0"/>
                    </a:cubicBezTo>
                    <a:cubicBezTo>
                      <a:pt x="414" y="0"/>
                      <a:pt x="526" y="111"/>
                      <a:pt x="526" y="251"/>
                    </a:cubicBezTo>
                    <a:cubicBezTo>
                      <a:pt x="526" y="253"/>
                      <a:pt x="526" y="253"/>
                      <a:pt x="526" y="253"/>
                    </a:cubicBezTo>
                    <a:cubicBezTo>
                      <a:pt x="526" y="392"/>
                      <a:pt x="413" y="505"/>
                      <a:pt x="262" y="505"/>
                    </a:cubicBezTo>
                    <a:cubicBezTo>
                      <a:pt x="112" y="505"/>
                      <a:pt x="0" y="394"/>
                      <a:pt x="0" y="254"/>
                    </a:cubicBezTo>
                    <a:close/>
                    <a:moveTo>
                      <a:pt x="390" y="254"/>
                    </a:moveTo>
                    <a:cubicBezTo>
                      <a:pt x="390" y="253"/>
                      <a:pt x="390" y="253"/>
                      <a:pt x="390" y="253"/>
                    </a:cubicBezTo>
                    <a:cubicBezTo>
                      <a:pt x="390" y="181"/>
                      <a:pt x="338" y="119"/>
                      <a:pt x="262" y="119"/>
                    </a:cubicBezTo>
                    <a:cubicBezTo>
                      <a:pt x="183" y="119"/>
                      <a:pt x="136" y="179"/>
                      <a:pt x="136" y="251"/>
                    </a:cubicBezTo>
                    <a:cubicBezTo>
                      <a:pt x="136" y="253"/>
                      <a:pt x="136" y="253"/>
                      <a:pt x="136" y="253"/>
                    </a:cubicBezTo>
                    <a:cubicBezTo>
                      <a:pt x="136" y="324"/>
                      <a:pt x="188" y="387"/>
                      <a:pt x="264" y="387"/>
                    </a:cubicBezTo>
                    <a:cubicBezTo>
                      <a:pt x="343" y="387"/>
                      <a:pt x="390" y="326"/>
                      <a:pt x="39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0" name="Freeform 20">
                <a:extLst>
                  <a:ext uri="{FF2B5EF4-FFF2-40B4-BE49-F238E27FC236}">
                    <a16:creationId xmlns:a16="http://schemas.microsoft.com/office/drawing/2014/main" id="{BDC10D2B-8240-1306-CC54-B3F0CF2378C2}"/>
                  </a:ext>
                </a:extLst>
              </p:cNvPr>
              <p:cNvSpPr>
                <a:spLocks noEditPoints="1"/>
              </p:cNvSpPr>
              <p:nvPr/>
            </p:nvSpPr>
            <p:spPr bwMode="auto">
              <a:xfrm>
                <a:off x="6516057" y="938123"/>
                <a:ext cx="221197" cy="278823"/>
              </a:xfrm>
              <a:custGeom>
                <a:avLst/>
                <a:gdLst>
                  <a:gd name="T0" fmla="*/ 24 w 509"/>
                  <a:gd name="T1" fmla="*/ 590 h 641"/>
                  <a:gd name="T2" fmla="*/ 71 w 509"/>
                  <a:gd name="T3" fmla="*/ 487 h 641"/>
                  <a:gd name="T4" fmla="*/ 235 w 509"/>
                  <a:gd name="T5" fmla="*/ 531 h 641"/>
                  <a:gd name="T6" fmla="*/ 373 w 509"/>
                  <a:gd name="T7" fmla="*/ 399 h 641"/>
                  <a:gd name="T8" fmla="*/ 373 w 509"/>
                  <a:gd name="T9" fmla="*/ 376 h 641"/>
                  <a:gd name="T10" fmla="*/ 215 w 509"/>
                  <a:gd name="T11" fmla="*/ 454 h 641"/>
                  <a:gd name="T12" fmla="*/ 0 w 509"/>
                  <a:gd name="T13" fmla="*/ 228 h 641"/>
                  <a:gd name="T14" fmla="*/ 0 w 509"/>
                  <a:gd name="T15" fmla="*/ 226 h 641"/>
                  <a:gd name="T16" fmla="*/ 215 w 509"/>
                  <a:gd name="T17" fmla="*/ 0 h 641"/>
                  <a:gd name="T18" fmla="*/ 372 w 509"/>
                  <a:gd name="T19" fmla="*/ 72 h 641"/>
                  <a:gd name="T20" fmla="*/ 372 w 509"/>
                  <a:gd name="T21" fmla="*/ 9 h 641"/>
                  <a:gd name="T22" fmla="*/ 509 w 509"/>
                  <a:gd name="T23" fmla="*/ 9 h 641"/>
                  <a:gd name="T24" fmla="*/ 509 w 509"/>
                  <a:gd name="T25" fmla="*/ 385 h 641"/>
                  <a:gd name="T26" fmla="*/ 448 w 509"/>
                  <a:gd name="T27" fmla="*/ 576 h 641"/>
                  <a:gd name="T28" fmla="*/ 239 w 509"/>
                  <a:gd name="T29" fmla="*/ 641 h 641"/>
                  <a:gd name="T30" fmla="*/ 24 w 509"/>
                  <a:gd name="T31" fmla="*/ 590 h 641"/>
                  <a:gd name="T32" fmla="*/ 373 w 509"/>
                  <a:gd name="T33" fmla="*/ 228 h 641"/>
                  <a:gd name="T34" fmla="*/ 373 w 509"/>
                  <a:gd name="T35" fmla="*/ 226 h 641"/>
                  <a:gd name="T36" fmla="*/ 255 w 509"/>
                  <a:gd name="T37" fmla="*/ 114 h 641"/>
                  <a:gd name="T38" fmla="*/ 137 w 509"/>
                  <a:gd name="T39" fmla="*/ 226 h 641"/>
                  <a:gd name="T40" fmla="*/ 137 w 509"/>
                  <a:gd name="T41" fmla="*/ 228 h 641"/>
                  <a:gd name="T42" fmla="*/ 255 w 509"/>
                  <a:gd name="T43" fmla="*/ 340 h 641"/>
                  <a:gd name="T44" fmla="*/ 373 w 509"/>
                  <a:gd name="T45" fmla="*/ 2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9" h="641">
                    <a:moveTo>
                      <a:pt x="24" y="590"/>
                    </a:moveTo>
                    <a:cubicBezTo>
                      <a:pt x="71" y="487"/>
                      <a:pt x="71" y="487"/>
                      <a:pt x="71" y="487"/>
                    </a:cubicBezTo>
                    <a:cubicBezTo>
                      <a:pt x="121" y="515"/>
                      <a:pt x="171" y="531"/>
                      <a:pt x="235" y="531"/>
                    </a:cubicBezTo>
                    <a:cubicBezTo>
                      <a:pt x="329" y="531"/>
                      <a:pt x="373" y="486"/>
                      <a:pt x="373" y="399"/>
                    </a:cubicBezTo>
                    <a:cubicBezTo>
                      <a:pt x="373" y="376"/>
                      <a:pt x="373" y="376"/>
                      <a:pt x="373" y="376"/>
                    </a:cubicBezTo>
                    <a:cubicBezTo>
                      <a:pt x="333" y="425"/>
                      <a:pt x="288" y="454"/>
                      <a:pt x="215" y="454"/>
                    </a:cubicBezTo>
                    <a:cubicBezTo>
                      <a:pt x="102" y="454"/>
                      <a:pt x="0" y="372"/>
                      <a:pt x="0" y="228"/>
                    </a:cubicBezTo>
                    <a:cubicBezTo>
                      <a:pt x="0" y="226"/>
                      <a:pt x="0" y="226"/>
                      <a:pt x="0" y="226"/>
                    </a:cubicBezTo>
                    <a:cubicBezTo>
                      <a:pt x="0" y="82"/>
                      <a:pt x="104" y="0"/>
                      <a:pt x="215" y="0"/>
                    </a:cubicBezTo>
                    <a:cubicBezTo>
                      <a:pt x="290" y="0"/>
                      <a:pt x="334" y="32"/>
                      <a:pt x="372" y="72"/>
                    </a:cubicBezTo>
                    <a:cubicBezTo>
                      <a:pt x="372" y="9"/>
                      <a:pt x="372" y="9"/>
                      <a:pt x="372" y="9"/>
                    </a:cubicBezTo>
                    <a:cubicBezTo>
                      <a:pt x="509" y="9"/>
                      <a:pt x="509" y="9"/>
                      <a:pt x="509" y="9"/>
                    </a:cubicBezTo>
                    <a:cubicBezTo>
                      <a:pt x="509" y="385"/>
                      <a:pt x="509" y="385"/>
                      <a:pt x="509" y="385"/>
                    </a:cubicBezTo>
                    <a:cubicBezTo>
                      <a:pt x="509" y="472"/>
                      <a:pt x="488" y="535"/>
                      <a:pt x="448" y="576"/>
                    </a:cubicBezTo>
                    <a:cubicBezTo>
                      <a:pt x="402" y="621"/>
                      <a:pt x="333" y="641"/>
                      <a:pt x="239" y="641"/>
                    </a:cubicBezTo>
                    <a:cubicBezTo>
                      <a:pt x="160" y="641"/>
                      <a:pt x="86" y="623"/>
                      <a:pt x="24" y="590"/>
                    </a:cubicBezTo>
                    <a:close/>
                    <a:moveTo>
                      <a:pt x="373" y="228"/>
                    </a:moveTo>
                    <a:cubicBezTo>
                      <a:pt x="373" y="226"/>
                      <a:pt x="373" y="226"/>
                      <a:pt x="373" y="226"/>
                    </a:cubicBezTo>
                    <a:cubicBezTo>
                      <a:pt x="373" y="160"/>
                      <a:pt x="322" y="114"/>
                      <a:pt x="255" y="114"/>
                    </a:cubicBezTo>
                    <a:cubicBezTo>
                      <a:pt x="188" y="114"/>
                      <a:pt x="137" y="160"/>
                      <a:pt x="137" y="226"/>
                    </a:cubicBezTo>
                    <a:cubicBezTo>
                      <a:pt x="137" y="228"/>
                      <a:pt x="137" y="228"/>
                      <a:pt x="137" y="228"/>
                    </a:cubicBezTo>
                    <a:cubicBezTo>
                      <a:pt x="137" y="295"/>
                      <a:pt x="188" y="340"/>
                      <a:pt x="255" y="340"/>
                    </a:cubicBezTo>
                    <a:cubicBezTo>
                      <a:pt x="322" y="340"/>
                      <a:pt x="373" y="294"/>
                      <a:pt x="373"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1" name="Freeform 21">
                <a:extLst>
                  <a:ext uri="{FF2B5EF4-FFF2-40B4-BE49-F238E27FC236}">
                    <a16:creationId xmlns:a16="http://schemas.microsoft.com/office/drawing/2014/main" id="{A2A74FC7-B210-AC23-8BAD-A8CEF20144F7}"/>
                  </a:ext>
                </a:extLst>
              </p:cNvPr>
              <p:cNvSpPr>
                <a:spLocks/>
              </p:cNvSpPr>
              <p:nvPr/>
            </p:nvSpPr>
            <p:spPr bwMode="auto">
              <a:xfrm>
                <a:off x="6747450" y="942113"/>
                <a:ext cx="219424" cy="275277"/>
              </a:xfrm>
              <a:custGeom>
                <a:avLst/>
                <a:gdLst>
                  <a:gd name="T0" fmla="*/ 362 w 505"/>
                  <a:gd name="T1" fmla="*/ 0 h 633"/>
                  <a:gd name="T2" fmla="*/ 505 w 505"/>
                  <a:gd name="T3" fmla="*/ 0 h 633"/>
                  <a:gd name="T4" fmla="*/ 319 w 505"/>
                  <a:gd name="T5" fmla="*/ 497 h 633"/>
                  <a:gd name="T6" fmla="*/ 159 w 505"/>
                  <a:gd name="T7" fmla="*/ 633 h 633"/>
                  <a:gd name="T8" fmla="*/ 37 w 505"/>
                  <a:gd name="T9" fmla="*/ 599 h 633"/>
                  <a:gd name="T10" fmla="*/ 83 w 505"/>
                  <a:gd name="T11" fmla="*/ 500 h 633"/>
                  <a:gd name="T12" fmla="*/ 142 w 505"/>
                  <a:gd name="T13" fmla="*/ 519 h 633"/>
                  <a:gd name="T14" fmla="*/ 190 w 505"/>
                  <a:gd name="T15" fmla="*/ 487 h 633"/>
                  <a:gd name="T16" fmla="*/ 0 w 505"/>
                  <a:gd name="T17" fmla="*/ 0 h 633"/>
                  <a:gd name="T18" fmla="*/ 146 w 505"/>
                  <a:gd name="T19" fmla="*/ 0 h 633"/>
                  <a:gd name="T20" fmla="*/ 256 w 505"/>
                  <a:gd name="T21" fmla="*/ 331 h 633"/>
                  <a:gd name="T22" fmla="*/ 362 w 505"/>
                  <a:gd name="T2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633">
                    <a:moveTo>
                      <a:pt x="362" y="0"/>
                    </a:moveTo>
                    <a:cubicBezTo>
                      <a:pt x="505" y="0"/>
                      <a:pt x="505" y="0"/>
                      <a:pt x="505" y="0"/>
                    </a:cubicBezTo>
                    <a:cubicBezTo>
                      <a:pt x="319" y="497"/>
                      <a:pt x="319" y="497"/>
                      <a:pt x="319" y="497"/>
                    </a:cubicBezTo>
                    <a:cubicBezTo>
                      <a:pt x="282" y="596"/>
                      <a:pt x="242" y="633"/>
                      <a:pt x="159" y="633"/>
                    </a:cubicBezTo>
                    <a:cubicBezTo>
                      <a:pt x="110" y="633"/>
                      <a:pt x="73" y="620"/>
                      <a:pt x="37" y="599"/>
                    </a:cubicBezTo>
                    <a:cubicBezTo>
                      <a:pt x="83" y="500"/>
                      <a:pt x="83" y="500"/>
                      <a:pt x="83" y="500"/>
                    </a:cubicBezTo>
                    <a:cubicBezTo>
                      <a:pt x="101" y="511"/>
                      <a:pt x="124" y="519"/>
                      <a:pt x="142" y="519"/>
                    </a:cubicBezTo>
                    <a:cubicBezTo>
                      <a:pt x="166" y="519"/>
                      <a:pt x="178" y="512"/>
                      <a:pt x="190" y="487"/>
                    </a:cubicBezTo>
                    <a:cubicBezTo>
                      <a:pt x="0" y="0"/>
                      <a:pt x="0" y="0"/>
                      <a:pt x="0" y="0"/>
                    </a:cubicBezTo>
                    <a:cubicBezTo>
                      <a:pt x="146" y="0"/>
                      <a:pt x="146" y="0"/>
                      <a:pt x="146" y="0"/>
                    </a:cubicBezTo>
                    <a:cubicBezTo>
                      <a:pt x="256" y="331"/>
                      <a:pt x="256" y="331"/>
                      <a:pt x="256" y="331"/>
                    </a:cubicBez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2" name="Freeform 22">
                <a:extLst>
                  <a:ext uri="{FF2B5EF4-FFF2-40B4-BE49-F238E27FC236}">
                    <a16:creationId xmlns:a16="http://schemas.microsoft.com/office/drawing/2014/main" id="{ACC82ECF-72D6-6ED9-EF73-7495DE192F95}"/>
                  </a:ext>
                </a:extLst>
              </p:cNvPr>
              <p:cNvSpPr>
                <a:spLocks/>
              </p:cNvSpPr>
              <p:nvPr/>
            </p:nvSpPr>
            <p:spPr bwMode="auto">
              <a:xfrm>
                <a:off x="6005842" y="1258171"/>
                <a:ext cx="132541" cy="290348"/>
              </a:xfrm>
              <a:custGeom>
                <a:avLst/>
                <a:gdLst>
                  <a:gd name="T0" fmla="*/ 57 w 305"/>
                  <a:gd name="T1" fmla="*/ 299 h 667"/>
                  <a:gd name="T2" fmla="*/ 0 w 305"/>
                  <a:gd name="T3" fmla="*/ 299 h 667"/>
                  <a:gd name="T4" fmla="*/ 0 w 305"/>
                  <a:gd name="T5" fmla="*/ 186 h 667"/>
                  <a:gd name="T6" fmla="*/ 57 w 305"/>
                  <a:gd name="T7" fmla="*/ 186 h 667"/>
                  <a:gd name="T8" fmla="*/ 57 w 305"/>
                  <a:gd name="T9" fmla="*/ 155 h 667"/>
                  <a:gd name="T10" fmla="*/ 96 w 305"/>
                  <a:gd name="T11" fmla="*/ 38 h 667"/>
                  <a:gd name="T12" fmla="*/ 208 w 305"/>
                  <a:gd name="T13" fmla="*/ 0 h 667"/>
                  <a:gd name="T14" fmla="*/ 305 w 305"/>
                  <a:gd name="T15" fmla="*/ 13 h 667"/>
                  <a:gd name="T16" fmla="*/ 305 w 305"/>
                  <a:gd name="T17" fmla="*/ 127 h 667"/>
                  <a:gd name="T18" fmla="*/ 243 w 305"/>
                  <a:gd name="T19" fmla="*/ 115 h 667"/>
                  <a:gd name="T20" fmla="*/ 193 w 305"/>
                  <a:gd name="T21" fmla="*/ 168 h 667"/>
                  <a:gd name="T22" fmla="*/ 193 w 305"/>
                  <a:gd name="T23" fmla="*/ 187 h 667"/>
                  <a:gd name="T24" fmla="*/ 305 w 305"/>
                  <a:gd name="T25" fmla="*/ 187 h 667"/>
                  <a:gd name="T26" fmla="*/ 305 w 305"/>
                  <a:gd name="T27" fmla="*/ 299 h 667"/>
                  <a:gd name="T28" fmla="*/ 195 w 305"/>
                  <a:gd name="T29" fmla="*/ 299 h 667"/>
                  <a:gd name="T30" fmla="*/ 195 w 305"/>
                  <a:gd name="T31" fmla="*/ 667 h 667"/>
                  <a:gd name="T32" fmla="*/ 57 w 305"/>
                  <a:gd name="T33" fmla="*/ 667 h 667"/>
                  <a:gd name="T34" fmla="*/ 57 w 305"/>
                  <a:gd name="T35" fmla="*/ 29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667">
                    <a:moveTo>
                      <a:pt x="57" y="299"/>
                    </a:moveTo>
                    <a:cubicBezTo>
                      <a:pt x="0" y="299"/>
                      <a:pt x="0" y="299"/>
                      <a:pt x="0" y="299"/>
                    </a:cubicBezTo>
                    <a:cubicBezTo>
                      <a:pt x="0" y="186"/>
                      <a:pt x="0" y="186"/>
                      <a:pt x="0" y="186"/>
                    </a:cubicBezTo>
                    <a:cubicBezTo>
                      <a:pt x="57" y="186"/>
                      <a:pt x="57" y="186"/>
                      <a:pt x="57" y="186"/>
                    </a:cubicBezTo>
                    <a:cubicBezTo>
                      <a:pt x="57" y="155"/>
                      <a:pt x="57" y="155"/>
                      <a:pt x="57" y="155"/>
                    </a:cubicBezTo>
                    <a:cubicBezTo>
                      <a:pt x="57" y="102"/>
                      <a:pt x="71" y="63"/>
                      <a:pt x="96" y="38"/>
                    </a:cubicBezTo>
                    <a:cubicBezTo>
                      <a:pt x="122" y="12"/>
                      <a:pt x="159" y="0"/>
                      <a:pt x="208" y="0"/>
                    </a:cubicBezTo>
                    <a:cubicBezTo>
                      <a:pt x="251" y="0"/>
                      <a:pt x="280" y="5"/>
                      <a:pt x="305" y="13"/>
                    </a:cubicBezTo>
                    <a:cubicBezTo>
                      <a:pt x="305" y="127"/>
                      <a:pt x="305" y="127"/>
                      <a:pt x="305" y="127"/>
                    </a:cubicBezTo>
                    <a:cubicBezTo>
                      <a:pt x="286" y="120"/>
                      <a:pt x="267" y="115"/>
                      <a:pt x="243" y="115"/>
                    </a:cubicBezTo>
                    <a:cubicBezTo>
                      <a:pt x="211" y="115"/>
                      <a:pt x="193" y="132"/>
                      <a:pt x="193" y="168"/>
                    </a:cubicBezTo>
                    <a:cubicBezTo>
                      <a:pt x="193" y="187"/>
                      <a:pt x="193" y="187"/>
                      <a:pt x="193" y="187"/>
                    </a:cubicBezTo>
                    <a:cubicBezTo>
                      <a:pt x="305" y="187"/>
                      <a:pt x="305" y="187"/>
                      <a:pt x="305" y="187"/>
                    </a:cubicBezTo>
                    <a:cubicBezTo>
                      <a:pt x="305" y="299"/>
                      <a:pt x="305" y="299"/>
                      <a:pt x="305" y="299"/>
                    </a:cubicBezTo>
                    <a:cubicBezTo>
                      <a:pt x="195" y="299"/>
                      <a:pt x="195" y="299"/>
                      <a:pt x="195" y="299"/>
                    </a:cubicBezTo>
                    <a:cubicBezTo>
                      <a:pt x="195" y="667"/>
                      <a:pt x="195" y="667"/>
                      <a:pt x="195" y="667"/>
                    </a:cubicBezTo>
                    <a:cubicBezTo>
                      <a:pt x="57" y="667"/>
                      <a:pt x="57" y="667"/>
                      <a:pt x="57" y="667"/>
                    </a:cubicBezTo>
                    <a:lnTo>
                      <a:pt x="57"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3" name="Freeform 23">
                <a:extLst>
                  <a:ext uri="{FF2B5EF4-FFF2-40B4-BE49-F238E27FC236}">
                    <a16:creationId xmlns:a16="http://schemas.microsoft.com/office/drawing/2014/main" id="{22DAB937-2E79-C195-4D0E-AD10E570DD17}"/>
                  </a:ext>
                </a:extLst>
              </p:cNvPr>
              <p:cNvSpPr>
                <a:spLocks noEditPoints="1"/>
              </p:cNvSpPr>
              <p:nvPr/>
            </p:nvSpPr>
            <p:spPr bwMode="auto">
              <a:xfrm>
                <a:off x="6137497" y="1333086"/>
                <a:ext cx="228289" cy="219867"/>
              </a:xfrm>
              <a:custGeom>
                <a:avLst/>
                <a:gdLst>
                  <a:gd name="T0" fmla="*/ 0 w 525"/>
                  <a:gd name="T1" fmla="*/ 255 h 506"/>
                  <a:gd name="T2" fmla="*/ 0 w 525"/>
                  <a:gd name="T3" fmla="*/ 253 h 506"/>
                  <a:gd name="T4" fmla="*/ 263 w 525"/>
                  <a:gd name="T5" fmla="*/ 0 h 506"/>
                  <a:gd name="T6" fmla="*/ 525 w 525"/>
                  <a:gd name="T7" fmla="*/ 251 h 506"/>
                  <a:gd name="T8" fmla="*/ 525 w 525"/>
                  <a:gd name="T9" fmla="*/ 253 h 506"/>
                  <a:gd name="T10" fmla="*/ 261 w 525"/>
                  <a:gd name="T11" fmla="*/ 506 h 506"/>
                  <a:gd name="T12" fmla="*/ 0 w 525"/>
                  <a:gd name="T13" fmla="*/ 255 h 506"/>
                  <a:gd name="T14" fmla="*/ 389 w 525"/>
                  <a:gd name="T15" fmla="*/ 255 h 506"/>
                  <a:gd name="T16" fmla="*/ 389 w 525"/>
                  <a:gd name="T17" fmla="*/ 253 h 506"/>
                  <a:gd name="T18" fmla="*/ 261 w 525"/>
                  <a:gd name="T19" fmla="*/ 119 h 506"/>
                  <a:gd name="T20" fmla="*/ 135 w 525"/>
                  <a:gd name="T21" fmla="*/ 251 h 506"/>
                  <a:gd name="T22" fmla="*/ 135 w 525"/>
                  <a:gd name="T23" fmla="*/ 253 h 506"/>
                  <a:gd name="T24" fmla="*/ 263 w 525"/>
                  <a:gd name="T25" fmla="*/ 387 h 506"/>
                  <a:gd name="T26" fmla="*/ 389 w 525"/>
                  <a:gd name="T27" fmla="*/ 25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6">
                    <a:moveTo>
                      <a:pt x="0" y="255"/>
                    </a:moveTo>
                    <a:cubicBezTo>
                      <a:pt x="0" y="253"/>
                      <a:pt x="0" y="253"/>
                      <a:pt x="0" y="253"/>
                    </a:cubicBezTo>
                    <a:cubicBezTo>
                      <a:pt x="0" y="114"/>
                      <a:pt x="112" y="0"/>
                      <a:pt x="263" y="0"/>
                    </a:cubicBezTo>
                    <a:cubicBezTo>
                      <a:pt x="413" y="0"/>
                      <a:pt x="525" y="112"/>
                      <a:pt x="525" y="251"/>
                    </a:cubicBezTo>
                    <a:cubicBezTo>
                      <a:pt x="525" y="253"/>
                      <a:pt x="525" y="253"/>
                      <a:pt x="525" y="253"/>
                    </a:cubicBezTo>
                    <a:cubicBezTo>
                      <a:pt x="525" y="392"/>
                      <a:pt x="412" y="506"/>
                      <a:pt x="261" y="506"/>
                    </a:cubicBezTo>
                    <a:cubicBezTo>
                      <a:pt x="111" y="506"/>
                      <a:pt x="0" y="394"/>
                      <a:pt x="0" y="255"/>
                    </a:cubicBezTo>
                    <a:close/>
                    <a:moveTo>
                      <a:pt x="389" y="255"/>
                    </a:moveTo>
                    <a:cubicBezTo>
                      <a:pt x="389" y="253"/>
                      <a:pt x="389" y="253"/>
                      <a:pt x="389" y="253"/>
                    </a:cubicBezTo>
                    <a:cubicBezTo>
                      <a:pt x="389" y="182"/>
                      <a:pt x="337" y="119"/>
                      <a:pt x="261" y="119"/>
                    </a:cubicBezTo>
                    <a:cubicBezTo>
                      <a:pt x="183" y="119"/>
                      <a:pt x="135" y="180"/>
                      <a:pt x="135" y="251"/>
                    </a:cubicBezTo>
                    <a:cubicBezTo>
                      <a:pt x="135" y="253"/>
                      <a:pt x="135" y="253"/>
                      <a:pt x="135" y="253"/>
                    </a:cubicBezTo>
                    <a:cubicBezTo>
                      <a:pt x="135" y="325"/>
                      <a:pt x="187" y="387"/>
                      <a:pt x="263" y="387"/>
                    </a:cubicBezTo>
                    <a:cubicBezTo>
                      <a:pt x="342" y="387"/>
                      <a:pt x="389" y="326"/>
                      <a:pt x="389"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4" name="Freeform 24">
                <a:extLst>
                  <a:ext uri="{FF2B5EF4-FFF2-40B4-BE49-F238E27FC236}">
                    <a16:creationId xmlns:a16="http://schemas.microsoft.com/office/drawing/2014/main" id="{10B466F6-F9DE-C9E9-D98F-5CB17B8BE4DB}"/>
                  </a:ext>
                </a:extLst>
              </p:cNvPr>
              <p:cNvSpPr>
                <a:spLocks/>
              </p:cNvSpPr>
              <p:nvPr/>
            </p:nvSpPr>
            <p:spPr bwMode="auto">
              <a:xfrm>
                <a:off x="6379084" y="1331756"/>
                <a:ext cx="127665" cy="216764"/>
              </a:xfrm>
              <a:custGeom>
                <a:avLst/>
                <a:gdLst>
                  <a:gd name="T0" fmla="*/ 0 w 293"/>
                  <a:gd name="T1" fmla="*/ 13 h 498"/>
                  <a:gd name="T2" fmla="*/ 138 w 293"/>
                  <a:gd name="T3" fmla="*/ 13 h 498"/>
                  <a:gd name="T4" fmla="*/ 138 w 293"/>
                  <a:gd name="T5" fmla="*/ 110 h 498"/>
                  <a:gd name="T6" fmla="*/ 293 w 293"/>
                  <a:gd name="T7" fmla="*/ 3 h 498"/>
                  <a:gd name="T8" fmla="*/ 293 w 293"/>
                  <a:gd name="T9" fmla="*/ 147 h 498"/>
                  <a:gd name="T10" fmla="*/ 286 w 293"/>
                  <a:gd name="T11" fmla="*/ 147 h 498"/>
                  <a:gd name="T12" fmla="*/ 138 w 293"/>
                  <a:gd name="T13" fmla="*/ 318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0"/>
                      <a:pt x="138" y="110"/>
                      <a:pt x="138" y="110"/>
                    </a:cubicBezTo>
                    <a:cubicBezTo>
                      <a:pt x="166" y="43"/>
                      <a:pt x="211" y="0"/>
                      <a:pt x="293" y="3"/>
                    </a:cubicBezTo>
                    <a:cubicBezTo>
                      <a:pt x="293" y="147"/>
                      <a:pt x="293" y="147"/>
                      <a:pt x="293" y="147"/>
                    </a:cubicBezTo>
                    <a:cubicBezTo>
                      <a:pt x="286" y="147"/>
                      <a:pt x="286" y="147"/>
                      <a:pt x="286" y="147"/>
                    </a:cubicBezTo>
                    <a:cubicBezTo>
                      <a:pt x="194" y="147"/>
                      <a:pt x="138" y="203"/>
                      <a:pt x="138" y="318"/>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5" name="Freeform 25">
                <a:extLst>
                  <a:ext uri="{FF2B5EF4-FFF2-40B4-BE49-F238E27FC236}">
                    <a16:creationId xmlns:a16="http://schemas.microsoft.com/office/drawing/2014/main" id="{AD3E18E3-90EA-4D54-E039-6221DAC55953}"/>
                  </a:ext>
                </a:extLst>
              </p:cNvPr>
              <p:cNvSpPr>
                <a:spLocks noEditPoints="1"/>
              </p:cNvSpPr>
              <p:nvPr/>
            </p:nvSpPr>
            <p:spPr bwMode="auto">
              <a:xfrm>
                <a:off x="6582993" y="1334859"/>
                <a:ext cx="194157" cy="217207"/>
              </a:xfrm>
              <a:custGeom>
                <a:avLst/>
                <a:gdLst>
                  <a:gd name="T0" fmla="*/ 0 w 446"/>
                  <a:gd name="T1" fmla="*/ 351 h 500"/>
                  <a:gd name="T2" fmla="*/ 0 w 446"/>
                  <a:gd name="T3" fmla="*/ 349 h 500"/>
                  <a:gd name="T4" fmla="*/ 195 w 446"/>
                  <a:gd name="T5" fmla="*/ 195 h 500"/>
                  <a:gd name="T6" fmla="*/ 314 w 446"/>
                  <a:gd name="T7" fmla="*/ 215 h 500"/>
                  <a:gd name="T8" fmla="*/ 314 w 446"/>
                  <a:gd name="T9" fmla="*/ 206 h 500"/>
                  <a:gd name="T10" fmla="*/ 210 w 446"/>
                  <a:gd name="T11" fmla="*/ 118 h 500"/>
                  <a:gd name="T12" fmla="*/ 76 w 446"/>
                  <a:gd name="T13" fmla="*/ 144 h 500"/>
                  <a:gd name="T14" fmla="*/ 42 w 446"/>
                  <a:gd name="T15" fmla="*/ 39 h 500"/>
                  <a:gd name="T16" fmla="*/ 230 w 446"/>
                  <a:gd name="T17" fmla="*/ 0 h 500"/>
                  <a:gd name="T18" fmla="*/ 394 w 446"/>
                  <a:gd name="T19" fmla="*/ 54 h 500"/>
                  <a:gd name="T20" fmla="*/ 446 w 446"/>
                  <a:gd name="T21" fmla="*/ 209 h 500"/>
                  <a:gd name="T22" fmla="*/ 446 w 446"/>
                  <a:gd name="T23" fmla="*/ 491 h 500"/>
                  <a:gd name="T24" fmla="*/ 313 w 446"/>
                  <a:gd name="T25" fmla="*/ 491 h 500"/>
                  <a:gd name="T26" fmla="*/ 313 w 446"/>
                  <a:gd name="T27" fmla="*/ 438 h 500"/>
                  <a:gd name="T28" fmla="*/ 167 w 446"/>
                  <a:gd name="T29" fmla="*/ 500 h 500"/>
                  <a:gd name="T30" fmla="*/ 0 w 446"/>
                  <a:gd name="T31" fmla="*/ 351 h 500"/>
                  <a:gd name="T32" fmla="*/ 316 w 446"/>
                  <a:gd name="T33" fmla="*/ 320 h 500"/>
                  <a:gd name="T34" fmla="*/ 316 w 446"/>
                  <a:gd name="T35" fmla="*/ 295 h 500"/>
                  <a:gd name="T36" fmla="*/ 228 w 446"/>
                  <a:gd name="T37" fmla="*/ 277 h 500"/>
                  <a:gd name="T38" fmla="*/ 133 w 446"/>
                  <a:gd name="T39" fmla="*/ 344 h 500"/>
                  <a:gd name="T40" fmla="*/ 133 w 446"/>
                  <a:gd name="T41" fmla="*/ 346 h 500"/>
                  <a:gd name="T42" fmla="*/ 208 w 446"/>
                  <a:gd name="T43" fmla="*/ 405 h 500"/>
                  <a:gd name="T44" fmla="*/ 316 w 446"/>
                  <a:gd name="T45" fmla="*/ 3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500">
                    <a:moveTo>
                      <a:pt x="0" y="351"/>
                    </a:moveTo>
                    <a:cubicBezTo>
                      <a:pt x="0" y="349"/>
                      <a:pt x="0" y="349"/>
                      <a:pt x="0" y="349"/>
                    </a:cubicBezTo>
                    <a:cubicBezTo>
                      <a:pt x="0" y="244"/>
                      <a:pt x="81" y="195"/>
                      <a:pt x="195" y="195"/>
                    </a:cubicBezTo>
                    <a:cubicBezTo>
                      <a:pt x="244" y="195"/>
                      <a:pt x="280" y="203"/>
                      <a:pt x="314" y="215"/>
                    </a:cubicBezTo>
                    <a:cubicBezTo>
                      <a:pt x="314" y="206"/>
                      <a:pt x="314" y="206"/>
                      <a:pt x="314" y="206"/>
                    </a:cubicBezTo>
                    <a:cubicBezTo>
                      <a:pt x="314" y="149"/>
                      <a:pt x="279" y="118"/>
                      <a:pt x="210" y="118"/>
                    </a:cubicBezTo>
                    <a:cubicBezTo>
                      <a:pt x="157" y="118"/>
                      <a:pt x="120" y="128"/>
                      <a:pt x="76" y="144"/>
                    </a:cubicBezTo>
                    <a:cubicBezTo>
                      <a:pt x="42" y="39"/>
                      <a:pt x="42" y="39"/>
                      <a:pt x="42" y="39"/>
                    </a:cubicBezTo>
                    <a:cubicBezTo>
                      <a:pt x="95" y="15"/>
                      <a:pt x="148" y="0"/>
                      <a:pt x="230" y="0"/>
                    </a:cubicBezTo>
                    <a:cubicBezTo>
                      <a:pt x="305" y="0"/>
                      <a:pt x="359" y="20"/>
                      <a:pt x="394" y="54"/>
                    </a:cubicBezTo>
                    <a:cubicBezTo>
                      <a:pt x="430" y="91"/>
                      <a:pt x="446" y="144"/>
                      <a:pt x="446" y="209"/>
                    </a:cubicBezTo>
                    <a:cubicBezTo>
                      <a:pt x="446" y="491"/>
                      <a:pt x="446" y="491"/>
                      <a:pt x="446" y="491"/>
                    </a:cubicBezTo>
                    <a:cubicBezTo>
                      <a:pt x="313" y="491"/>
                      <a:pt x="313" y="491"/>
                      <a:pt x="313" y="491"/>
                    </a:cubicBezTo>
                    <a:cubicBezTo>
                      <a:pt x="313" y="438"/>
                      <a:pt x="313" y="438"/>
                      <a:pt x="313" y="438"/>
                    </a:cubicBezTo>
                    <a:cubicBezTo>
                      <a:pt x="280" y="475"/>
                      <a:pt x="234" y="500"/>
                      <a:pt x="167" y="500"/>
                    </a:cubicBezTo>
                    <a:cubicBezTo>
                      <a:pt x="75" y="500"/>
                      <a:pt x="0" y="447"/>
                      <a:pt x="0" y="351"/>
                    </a:cubicBezTo>
                    <a:close/>
                    <a:moveTo>
                      <a:pt x="316" y="320"/>
                    </a:moveTo>
                    <a:cubicBezTo>
                      <a:pt x="316" y="295"/>
                      <a:pt x="316" y="295"/>
                      <a:pt x="316" y="295"/>
                    </a:cubicBezTo>
                    <a:cubicBezTo>
                      <a:pt x="292" y="284"/>
                      <a:pt x="262" y="277"/>
                      <a:pt x="228" y="277"/>
                    </a:cubicBezTo>
                    <a:cubicBezTo>
                      <a:pt x="169" y="277"/>
                      <a:pt x="133" y="301"/>
                      <a:pt x="133" y="344"/>
                    </a:cubicBezTo>
                    <a:cubicBezTo>
                      <a:pt x="133" y="346"/>
                      <a:pt x="133" y="346"/>
                      <a:pt x="133" y="346"/>
                    </a:cubicBezTo>
                    <a:cubicBezTo>
                      <a:pt x="133" y="383"/>
                      <a:pt x="164" y="405"/>
                      <a:pt x="208" y="405"/>
                    </a:cubicBezTo>
                    <a:cubicBezTo>
                      <a:pt x="272" y="405"/>
                      <a:pt x="316" y="369"/>
                      <a:pt x="31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6" name="Rectangle 26">
                <a:extLst>
                  <a:ext uri="{FF2B5EF4-FFF2-40B4-BE49-F238E27FC236}">
                    <a16:creationId xmlns:a16="http://schemas.microsoft.com/office/drawing/2014/main" id="{144E16EA-4F3F-420C-5D8D-753A1E9F0B11}"/>
                  </a:ext>
                </a:extLst>
              </p:cNvPr>
              <p:cNvSpPr>
                <a:spLocks noChangeArrowheads="1"/>
              </p:cNvSpPr>
              <p:nvPr/>
            </p:nvSpPr>
            <p:spPr bwMode="auto">
              <a:xfrm>
                <a:off x="6801973" y="1260831"/>
                <a:ext cx="59843"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7" name="Rectangle 27">
                <a:extLst>
                  <a:ext uri="{FF2B5EF4-FFF2-40B4-BE49-F238E27FC236}">
                    <a16:creationId xmlns:a16="http://schemas.microsoft.com/office/drawing/2014/main" id="{E009FD22-AB72-D26D-205F-29DF66B5BFFA}"/>
                  </a:ext>
                </a:extLst>
              </p:cNvPr>
              <p:cNvSpPr>
                <a:spLocks noChangeArrowheads="1"/>
              </p:cNvSpPr>
              <p:nvPr/>
            </p:nvSpPr>
            <p:spPr bwMode="auto">
              <a:xfrm>
                <a:off x="6886639" y="1260831"/>
                <a:ext cx="59399"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
          <p:nvSpPr>
            <p:cNvPr id="77" name="Rectangle 28">
              <a:extLst>
                <a:ext uri="{FF2B5EF4-FFF2-40B4-BE49-F238E27FC236}">
                  <a16:creationId xmlns:a16="http://schemas.microsoft.com/office/drawing/2014/main" id="{FB305569-AB33-7799-ED76-68F103CE5B8C}"/>
                </a:ext>
              </a:extLst>
            </p:cNvPr>
            <p:cNvSpPr>
              <a:spLocks noChangeArrowheads="1"/>
            </p:cNvSpPr>
            <p:nvPr/>
          </p:nvSpPr>
          <p:spPr bwMode="auto">
            <a:xfrm>
              <a:off x="11556230" y="767096"/>
              <a:ext cx="634181" cy="189869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799"/>
            </a:p>
          </p:txBody>
        </p:sp>
        <p:grpSp>
          <p:nvGrpSpPr>
            <p:cNvPr id="78" name="Group 77">
              <a:extLst>
                <a:ext uri="{FF2B5EF4-FFF2-40B4-BE49-F238E27FC236}">
                  <a16:creationId xmlns:a16="http://schemas.microsoft.com/office/drawing/2014/main" id="{DC4D5431-76CB-4561-B2E0-664C3E75E88C}"/>
                </a:ext>
              </a:extLst>
            </p:cNvPr>
            <p:cNvGrpSpPr/>
            <p:nvPr/>
          </p:nvGrpSpPr>
          <p:grpSpPr>
            <a:xfrm>
              <a:off x="11701122" y="936748"/>
              <a:ext cx="321494" cy="1552800"/>
              <a:chOff x="7313961" y="501936"/>
              <a:chExt cx="323594" cy="1566108"/>
            </a:xfrm>
          </p:grpSpPr>
          <p:sp>
            <p:nvSpPr>
              <p:cNvPr id="79" name="Freeform 29">
                <a:extLst>
                  <a:ext uri="{FF2B5EF4-FFF2-40B4-BE49-F238E27FC236}">
                    <a16:creationId xmlns:a16="http://schemas.microsoft.com/office/drawing/2014/main" id="{9EB7EA56-59D4-7E58-E9A3-5C4585DF00FE}"/>
                  </a:ext>
                </a:extLst>
              </p:cNvPr>
              <p:cNvSpPr>
                <a:spLocks/>
              </p:cNvSpPr>
              <p:nvPr/>
            </p:nvSpPr>
            <p:spPr bwMode="auto">
              <a:xfrm>
                <a:off x="7383556" y="1311808"/>
                <a:ext cx="249567" cy="247350"/>
              </a:xfrm>
              <a:custGeom>
                <a:avLst/>
                <a:gdLst>
                  <a:gd name="T0" fmla="*/ 0 w 574"/>
                  <a:gd name="T1" fmla="*/ 229 h 569"/>
                  <a:gd name="T2" fmla="*/ 90 w 574"/>
                  <a:gd name="T3" fmla="*/ 413 h 569"/>
                  <a:gd name="T4" fmla="*/ 90 w 574"/>
                  <a:gd name="T5" fmla="*/ 413 h 569"/>
                  <a:gd name="T6" fmla="*/ 90 w 574"/>
                  <a:gd name="T7" fmla="*/ 413 h 569"/>
                  <a:gd name="T8" fmla="*/ 9 w 574"/>
                  <a:gd name="T9" fmla="*/ 413 h 569"/>
                  <a:gd name="T10" fmla="*/ 9 w 574"/>
                  <a:gd name="T11" fmla="*/ 569 h 569"/>
                  <a:gd name="T12" fmla="*/ 574 w 574"/>
                  <a:gd name="T13" fmla="*/ 569 h 569"/>
                  <a:gd name="T14" fmla="*/ 574 w 574"/>
                  <a:gd name="T15" fmla="*/ 413 h 569"/>
                  <a:gd name="T16" fmla="*/ 253 w 574"/>
                  <a:gd name="T17" fmla="*/ 413 h 569"/>
                  <a:gd name="T18" fmla="*/ 133 w 574"/>
                  <a:gd name="T19" fmla="*/ 286 h 569"/>
                  <a:gd name="T20" fmla="*/ 253 w 574"/>
                  <a:gd name="T21" fmla="*/ 155 h 569"/>
                  <a:gd name="T22" fmla="*/ 574 w 574"/>
                  <a:gd name="T23" fmla="*/ 155 h 569"/>
                  <a:gd name="T24" fmla="*/ 574 w 574"/>
                  <a:gd name="T25" fmla="*/ 0 h 569"/>
                  <a:gd name="T26" fmla="*/ 224 w 574"/>
                  <a:gd name="T27" fmla="*/ 0 h 569"/>
                  <a:gd name="T28" fmla="*/ 0 w 574"/>
                  <a:gd name="T29" fmla="*/ 22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569">
                    <a:moveTo>
                      <a:pt x="0" y="229"/>
                    </a:moveTo>
                    <a:cubicBezTo>
                      <a:pt x="0" y="294"/>
                      <a:pt x="30" y="368"/>
                      <a:pt x="90" y="413"/>
                    </a:cubicBezTo>
                    <a:cubicBezTo>
                      <a:pt x="90" y="413"/>
                      <a:pt x="90" y="413"/>
                      <a:pt x="90" y="413"/>
                    </a:cubicBezTo>
                    <a:cubicBezTo>
                      <a:pt x="90" y="413"/>
                      <a:pt x="90" y="413"/>
                      <a:pt x="90" y="413"/>
                    </a:cubicBezTo>
                    <a:cubicBezTo>
                      <a:pt x="9" y="413"/>
                      <a:pt x="9" y="413"/>
                      <a:pt x="9" y="413"/>
                    </a:cubicBezTo>
                    <a:cubicBezTo>
                      <a:pt x="9" y="569"/>
                      <a:pt x="9" y="569"/>
                      <a:pt x="9" y="569"/>
                    </a:cubicBezTo>
                    <a:cubicBezTo>
                      <a:pt x="574" y="569"/>
                      <a:pt x="574" y="569"/>
                      <a:pt x="574" y="569"/>
                    </a:cubicBezTo>
                    <a:cubicBezTo>
                      <a:pt x="574" y="413"/>
                      <a:pt x="574" y="413"/>
                      <a:pt x="574" y="413"/>
                    </a:cubicBezTo>
                    <a:cubicBezTo>
                      <a:pt x="253" y="413"/>
                      <a:pt x="253" y="413"/>
                      <a:pt x="253" y="413"/>
                    </a:cubicBezTo>
                    <a:cubicBezTo>
                      <a:pt x="195" y="413"/>
                      <a:pt x="133" y="369"/>
                      <a:pt x="133" y="286"/>
                    </a:cubicBezTo>
                    <a:cubicBezTo>
                      <a:pt x="133" y="221"/>
                      <a:pt x="178" y="155"/>
                      <a:pt x="253" y="155"/>
                    </a:cubicBezTo>
                    <a:cubicBezTo>
                      <a:pt x="574" y="155"/>
                      <a:pt x="574" y="155"/>
                      <a:pt x="574" y="155"/>
                    </a:cubicBezTo>
                    <a:cubicBezTo>
                      <a:pt x="574" y="0"/>
                      <a:pt x="574" y="0"/>
                      <a:pt x="574" y="0"/>
                    </a:cubicBezTo>
                    <a:cubicBezTo>
                      <a:pt x="224" y="0"/>
                      <a:pt x="224" y="0"/>
                      <a:pt x="224" y="0"/>
                    </a:cubicBezTo>
                    <a:cubicBezTo>
                      <a:pt x="94" y="0"/>
                      <a:pt x="0" y="93"/>
                      <a:pt x="0" y="2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0" name="Freeform 30">
                <a:extLst>
                  <a:ext uri="{FF2B5EF4-FFF2-40B4-BE49-F238E27FC236}">
                    <a16:creationId xmlns:a16="http://schemas.microsoft.com/office/drawing/2014/main" id="{93B05BBE-DBEC-684B-B012-F63384131C10}"/>
                  </a:ext>
                </a:extLst>
              </p:cNvPr>
              <p:cNvSpPr>
                <a:spLocks/>
              </p:cNvSpPr>
              <p:nvPr/>
            </p:nvSpPr>
            <p:spPr bwMode="auto">
              <a:xfrm>
                <a:off x="7387546" y="755049"/>
                <a:ext cx="245577" cy="276163"/>
              </a:xfrm>
              <a:custGeom>
                <a:avLst/>
                <a:gdLst>
                  <a:gd name="T0" fmla="*/ 0 w 554"/>
                  <a:gd name="T1" fmla="*/ 174 h 623"/>
                  <a:gd name="T2" fmla="*/ 377 w 554"/>
                  <a:gd name="T3" fmla="*/ 311 h 623"/>
                  <a:gd name="T4" fmla="*/ 0 w 554"/>
                  <a:gd name="T5" fmla="*/ 450 h 623"/>
                  <a:gd name="T6" fmla="*/ 0 w 554"/>
                  <a:gd name="T7" fmla="*/ 623 h 623"/>
                  <a:gd name="T8" fmla="*/ 554 w 554"/>
                  <a:gd name="T9" fmla="*/ 395 h 623"/>
                  <a:gd name="T10" fmla="*/ 554 w 554"/>
                  <a:gd name="T11" fmla="*/ 228 h 623"/>
                  <a:gd name="T12" fmla="*/ 0 w 554"/>
                  <a:gd name="T13" fmla="*/ 0 h 623"/>
                  <a:gd name="T14" fmla="*/ 0 w 554"/>
                  <a:gd name="T15" fmla="*/ 174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623">
                    <a:moveTo>
                      <a:pt x="0" y="174"/>
                    </a:moveTo>
                    <a:lnTo>
                      <a:pt x="377" y="311"/>
                    </a:lnTo>
                    <a:lnTo>
                      <a:pt x="0" y="450"/>
                    </a:lnTo>
                    <a:lnTo>
                      <a:pt x="0" y="623"/>
                    </a:lnTo>
                    <a:lnTo>
                      <a:pt x="554" y="395"/>
                    </a:lnTo>
                    <a:lnTo>
                      <a:pt x="554" y="228"/>
                    </a:lnTo>
                    <a:lnTo>
                      <a:pt x="0" y="0"/>
                    </a:lnTo>
                    <a:lnTo>
                      <a:pt x="0"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1" name="Freeform 31">
                <a:extLst>
                  <a:ext uri="{FF2B5EF4-FFF2-40B4-BE49-F238E27FC236}">
                    <a16:creationId xmlns:a16="http://schemas.microsoft.com/office/drawing/2014/main" id="{972F0292-22E7-DDB2-79F6-6703AF74768F}"/>
                  </a:ext>
                </a:extLst>
              </p:cNvPr>
              <p:cNvSpPr>
                <a:spLocks noEditPoints="1"/>
              </p:cNvSpPr>
              <p:nvPr/>
            </p:nvSpPr>
            <p:spPr bwMode="auto">
              <a:xfrm>
                <a:off x="7383556" y="1583096"/>
                <a:ext cx="253999" cy="256659"/>
              </a:xfrm>
              <a:custGeom>
                <a:avLst/>
                <a:gdLst>
                  <a:gd name="T0" fmla="*/ 401 w 584"/>
                  <a:gd name="T1" fmla="*/ 110 h 590"/>
                  <a:gd name="T2" fmla="*/ 460 w 584"/>
                  <a:gd name="T3" fmla="*/ 272 h 590"/>
                  <a:gd name="T4" fmla="*/ 415 w 584"/>
                  <a:gd name="T5" fmla="*/ 397 h 590"/>
                  <a:gd name="T6" fmla="*/ 250 w 584"/>
                  <a:gd name="T7" fmla="*/ 0 h 590"/>
                  <a:gd name="T8" fmla="*/ 92 w 584"/>
                  <a:gd name="T9" fmla="*/ 68 h 590"/>
                  <a:gd name="T10" fmla="*/ 0 w 584"/>
                  <a:gd name="T11" fmla="*/ 291 h 590"/>
                  <a:gd name="T12" fmla="*/ 292 w 584"/>
                  <a:gd name="T13" fmla="*/ 590 h 590"/>
                  <a:gd name="T14" fmla="*/ 584 w 584"/>
                  <a:gd name="T15" fmla="*/ 274 h 590"/>
                  <a:gd name="T16" fmla="*/ 476 w 584"/>
                  <a:gd name="T17" fmla="*/ 12 h 590"/>
                  <a:gd name="T18" fmla="*/ 401 w 584"/>
                  <a:gd name="T19" fmla="*/ 110 h 590"/>
                  <a:gd name="T20" fmla="*/ 179 w 584"/>
                  <a:gd name="T21" fmla="*/ 408 h 590"/>
                  <a:gd name="T22" fmla="*/ 123 w 584"/>
                  <a:gd name="T23" fmla="*/ 288 h 590"/>
                  <a:gd name="T24" fmla="*/ 202 w 584"/>
                  <a:gd name="T25" fmla="*/ 168 h 590"/>
                  <a:gd name="T26" fmla="*/ 315 w 584"/>
                  <a:gd name="T27" fmla="*/ 439 h 590"/>
                  <a:gd name="T28" fmla="*/ 179 w 584"/>
                  <a:gd name="T29" fmla="*/ 40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4" h="590">
                    <a:moveTo>
                      <a:pt x="401" y="110"/>
                    </a:moveTo>
                    <a:cubicBezTo>
                      <a:pt x="449" y="175"/>
                      <a:pt x="460" y="212"/>
                      <a:pt x="460" y="272"/>
                    </a:cubicBezTo>
                    <a:cubicBezTo>
                      <a:pt x="460" y="325"/>
                      <a:pt x="444" y="367"/>
                      <a:pt x="415" y="397"/>
                    </a:cubicBezTo>
                    <a:cubicBezTo>
                      <a:pt x="250" y="0"/>
                      <a:pt x="250" y="0"/>
                      <a:pt x="250" y="0"/>
                    </a:cubicBezTo>
                    <a:cubicBezTo>
                      <a:pt x="189" y="9"/>
                      <a:pt x="134" y="32"/>
                      <a:pt x="92" y="68"/>
                    </a:cubicBezTo>
                    <a:cubicBezTo>
                      <a:pt x="32" y="120"/>
                      <a:pt x="0" y="197"/>
                      <a:pt x="0" y="291"/>
                    </a:cubicBezTo>
                    <a:cubicBezTo>
                      <a:pt x="0" y="462"/>
                      <a:pt x="126" y="590"/>
                      <a:pt x="292" y="590"/>
                    </a:cubicBezTo>
                    <a:cubicBezTo>
                      <a:pt x="462" y="590"/>
                      <a:pt x="584" y="462"/>
                      <a:pt x="584" y="274"/>
                    </a:cubicBezTo>
                    <a:cubicBezTo>
                      <a:pt x="584" y="169"/>
                      <a:pt x="534" y="62"/>
                      <a:pt x="476" y="12"/>
                    </a:cubicBezTo>
                    <a:lnTo>
                      <a:pt x="401" y="110"/>
                    </a:lnTo>
                    <a:close/>
                    <a:moveTo>
                      <a:pt x="179" y="408"/>
                    </a:moveTo>
                    <a:cubicBezTo>
                      <a:pt x="144" y="381"/>
                      <a:pt x="123" y="339"/>
                      <a:pt x="123" y="288"/>
                    </a:cubicBezTo>
                    <a:cubicBezTo>
                      <a:pt x="123" y="232"/>
                      <a:pt x="155" y="190"/>
                      <a:pt x="202" y="168"/>
                    </a:cubicBezTo>
                    <a:cubicBezTo>
                      <a:pt x="315" y="439"/>
                      <a:pt x="315" y="439"/>
                      <a:pt x="315" y="439"/>
                    </a:cubicBezTo>
                    <a:cubicBezTo>
                      <a:pt x="257" y="447"/>
                      <a:pt x="212" y="432"/>
                      <a:pt x="179" y="4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2" name="Freeform 32">
                <a:extLst>
                  <a:ext uri="{FF2B5EF4-FFF2-40B4-BE49-F238E27FC236}">
                    <a16:creationId xmlns:a16="http://schemas.microsoft.com/office/drawing/2014/main" id="{8FB3E4DF-D685-E83E-C831-3D30D6486411}"/>
                  </a:ext>
                </a:extLst>
              </p:cNvPr>
              <p:cNvSpPr>
                <a:spLocks/>
              </p:cNvSpPr>
              <p:nvPr/>
            </p:nvSpPr>
            <p:spPr bwMode="auto">
              <a:xfrm>
                <a:off x="7313961" y="1846404"/>
                <a:ext cx="319161" cy="221640"/>
              </a:xfrm>
              <a:custGeom>
                <a:avLst/>
                <a:gdLst>
                  <a:gd name="T0" fmla="*/ 580 w 720"/>
                  <a:gd name="T1" fmla="*/ 0 h 500"/>
                  <a:gd name="T2" fmla="*/ 580 w 720"/>
                  <a:gd name="T3" fmla="*/ 346 h 500"/>
                  <a:gd name="T4" fmla="*/ 0 w 720"/>
                  <a:gd name="T5" fmla="*/ 346 h 500"/>
                  <a:gd name="T6" fmla="*/ 0 w 720"/>
                  <a:gd name="T7" fmla="*/ 500 h 500"/>
                  <a:gd name="T8" fmla="*/ 720 w 720"/>
                  <a:gd name="T9" fmla="*/ 500 h 500"/>
                  <a:gd name="T10" fmla="*/ 720 w 720"/>
                  <a:gd name="T11" fmla="*/ 0 h 500"/>
                  <a:gd name="T12" fmla="*/ 580 w 720"/>
                  <a:gd name="T13" fmla="*/ 0 h 500"/>
                </a:gdLst>
                <a:ahLst/>
                <a:cxnLst>
                  <a:cxn ang="0">
                    <a:pos x="T0" y="T1"/>
                  </a:cxn>
                  <a:cxn ang="0">
                    <a:pos x="T2" y="T3"/>
                  </a:cxn>
                  <a:cxn ang="0">
                    <a:pos x="T4" y="T5"/>
                  </a:cxn>
                  <a:cxn ang="0">
                    <a:pos x="T6" y="T7"/>
                  </a:cxn>
                  <a:cxn ang="0">
                    <a:pos x="T8" y="T9"/>
                  </a:cxn>
                  <a:cxn ang="0">
                    <a:pos x="T10" y="T11"/>
                  </a:cxn>
                  <a:cxn ang="0">
                    <a:pos x="T12" y="T13"/>
                  </a:cxn>
                </a:cxnLst>
                <a:rect l="0" t="0" r="r" b="b"/>
                <a:pathLst>
                  <a:path w="720" h="500">
                    <a:moveTo>
                      <a:pt x="580" y="0"/>
                    </a:moveTo>
                    <a:lnTo>
                      <a:pt x="580" y="346"/>
                    </a:lnTo>
                    <a:lnTo>
                      <a:pt x="0" y="346"/>
                    </a:lnTo>
                    <a:lnTo>
                      <a:pt x="0" y="500"/>
                    </a:lnTo>
                    <a:lnTo>
                      <a:pt x="720" y="500"/>
                    </a:lnTo>
                    <a:lnTo>
                      <a:pt x="720" y="0"/>
                    </a:lnTo>
                    <a:lnTo>
                      <a:pt x="5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3" name="Freeform 33">
                <a:extLst>
                  <a:ext uri="{FF2B5EF4-FFF2-40B4-BE49-F238E27FC236}">
                    <a16:creationId xmlns:a16="http://schemas.microsoft.com/office/drawing/2014/main" id="{7E51460F-8A6D-E455-ADF5-BF3600A7DAC9}"/>
                  </a:ext>
                </a:extLst>
              </p:cNvPr>
              <p:cNvSpPr>
                <a:spLocks noEditPoints="1"/>
              </p:cNvSpPr>
              <p:nvPr/>
            </p:nvSpPr>
            <p:spPr bwMode="auto">
              <a:xfrm>
                <a:off x="7383556" y="501936"/>
                <a:ext cx="253999" cy="263752"/>
              </a:xfrm>
              <a:custGeom>
                <a:avLst/>
                <a:gdLst>
                  <a:gd name="T0" fmla="*/ 584 w 584"/>
                  <a:gd name="T1" fmla="*/ 304 h 607"/>
                  <a:gd name="T2" fmla="*/ 292 w 584"/>
                  <a:gd name="T3" fmla="*/ 607 h 607"/>
                  <a:gd name="T4" fmla="*/ 0 w 584"/>
                  <a:gd name="T5" fmla="*/ 302 h 607"/>
                  <a:gd name="T6" fmla="*/ 292 w 584"/>
                  <a:gd name="T7" fmla="*/ 0 h 607"/>
                  <a:gd name="T8" fmla="*/ 584 w 584"/>
                  <a:gd name="T9" fmla="*/ 304 h 607"/>
                  <a:gd name="T10" fmla="*/ 133 w 584"/>
                  <a:gd name="T11" fmla="*/ 304 h 607"/>
                  <a:gd name="T12" fmla="*/ 292 w 584"/>
                  <a:gd name="T13" fmla="*/ 454 h 607"/>
                  <a:gd name="T14" fmla="*/ 451 w 584"/>
                  <a:gd name="T15" fmla="*/ 302 h 607"/>
                  <a:gd name="T16" fmla="*/ 292 w 584"/>
                  <a:gd name="T17" fmla="*/ 153 h 607"/>
                  <a:gd name="T18" fmla="*/ 133 w 584"/>
                  <a:gd name="T19" fmla="*/ 30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4"/>
                    </a:moveTo>
                    <a:cubicBezTo>
                      <a:pt x="584" y="474"/>
                      <a:pt x="457" y="607"/>
                      <a:pt x="292" y="607"/>
                    </a:cubicBezTo>
                    <a:cubicBezTo>
                      <a:pt x="128" y="607"/>
                      <a:pt x="0" y="473"/>
                      <a:pt x="0" y="302"/>
                    </a:cubicBezTo>
                    <a:cubicBezTo>
                      <a:pt x="0" y="133"/>
                      <a:pt x="126" y="0"/>
                      <a:pt x="292" y="0"/>
                    </a:cubicBezTo>
                    <a:cubicBezTo>
                      <a:pt x="455" y="0"/>
                      <a:pt x="584" y="133"/>
                      <a:pt x="584" y="304"/>
                    </a:cubicBezTo>
                    <a:moveTo>
                      <a:pt x="133" y="304"/>
                    </a:moveTo>
                    <a:cubicBezTo>
                      <a:pt x="133" y="391"/>
                      <a:pt x="198" y="454"/>
                      <a:pt x="292" y="454"/>
                    </a:cubicBezTo>
                    <a:cubicBezTo>
                      <a:pt x="381" y="454"/>
                      <a:pt x="451" y="387"/>
                      <a:pt x="451" y="302"/>
                    </a:cubicBezTo>
                    <a:cubicBezTo>
                      <a:pt x="451" y="216"/>
                      <a:pt x="383" y="153"/>
                      <a:pt x="292" y="153"/>
                    </a:cubicBezTo>
                    <a:cubicBezTo>
                      <a:pt x="203" y="153"/>
                      <a:pt x="133" y="219"/>
                      <a:pt x="133" y="3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4" name="Freeform 34">
                <a:extLst>
                  <a:ext uri="{FF2B5EF4-FFF2-40B4-BE49-F238E27FC236}">
                    <a16:creationId xmlns:a16="http://schemas.microsoft.com/office/drawing/2014/main" id="{9296505E-2DA9-07F7-31C5-6D802244B0F4}"/>
                  </a:ext>
                </a:extLst>
              </p:cNvPr>
              <p:cNvSpPr>
                <a:spLocks noEditPoints="1"/>
              </p:cNvSpPr>
              <p:nvPr/>
            </p:nvSpPr>
            <p:spPr bwMode="auto">
              <a:xfrm>
                <a:off x="7383556" y="1021017"/>
                <a:ext cx="253999" cy="263752"/>
              </a:xfrm>
              <a:custGeom>
                <a:avLst/>
                <a:gdLst>
                  <a:gd name="T0" fmla="*/ 584 w 584"/>
                  <a:gd name="T1" fmla="*/ 305 h 607"/>
                  <a:gd name="T2" fmla="*/ 292 w 584"/>
                  <a:gd name="T3" fmla="*/ 607 h 607"/>
                  <a:gd name="T4" fmla="*/ 0 w 584"/>
                  <a:gd name="T5" fmla="*/ 303 h 607"/>
                  <a:gd name="T6" fmla="*/ 292 w 584"/>
                  <a:gd name="T7" fmla="*/ 0 h 607"/>
                  <a:gd name="T8" fmla="*/ 584 w 584"/>
                  <a:gd name="T9" fmla="*/ 305 h 607"/>
                  <a:gd name="T10" fmla="*/ 133 w 584"/>
                  <a:gd name="T11" fmla="*/ 305 h 607"/>
                  <a:gd name="T12" fmla="*/ 292 w 584"/>
                  <a:gd name="T13" fmla="*/ 454 h 607"/>
                  <a:gd name="T14" fmla="*/ 451 w 584"/>
                  <a:gd name="T15" fmla="*/ 303 h 607"/>
                  <a:gd name="T16" fmla="*/ 292 w 584"/>
                  <a:gd name="T17" fmla="*/ 153 h 607"/>
                  <a:gd name="T18" fmla="*/ 133 w 584"/>
                  <a:gd name="T19" fmla="*/ 3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5"/>
                    </a:moveTo>
                    <a:cubicBezTo>
                      <a:pt x="584" y="474"/>
                      <a:pt x="457" y="607"/>
                      <a:pt x="292" y="607"/>
                    </a:cubicBezTo>
                    <a:cubicBezTo>
                      <a:pt x="128" y="607"/>
                      <a:pt x="0" y="474"/>
                      <a:pt x="0" y="303"/>
                    </a:cubicBezTo>
                    <a:cubicBezTo>
                      <a:pt x="0" y="133"/>
                      <a:pt x="126" y="0"/>
                      <a:pt x="292" y="0"/>
                    </a:cubicBezTo>
                    <a:cubicBezTo>
                      <a:pt x="455" y="0"/>
                      <a:pt x="584" y="134"/>
                      <a:pt x="584" y="305"/>
                    </a:cubicBezTo>
                    <a:moveTo>
                      <a:pt x="133" y="305"/>
                    </a:moveTo>
                    <a:cubicBezTo>
                      <a:pt x="133" y="391"/>
                      <a:pt x="198" y="454"/>
                      <a:pt x="292" y="454"/>
                    </a:cubicBezTo>
                    <a:cubicBezTo>
                      <a:pt x="381" y="454"/>
                      <a:pt x="451" y="388"/>
                      <a:pt x="451" y="303"/>
                    </a:cubicBezTo>
                    <a:cubicBezTo>
                      <a:pt x="451" y="216"/>
                      <a:pt x="383" y="153"/>
                      <a:pt x="292" y="153"/>
                    </a:cubicBezTo>
                    <a:cubicBezTo>
                      <a:pt x="203" y="153"/>
                      <a:pt x="133" y="220"/>
                      <a:pt x="133" y="3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spTree>
    <p:extLst>
      <p:ext uri="{BB962C8B-B14F-4D97-AF65-F5344CB8AC3E}">
        <p14:creationId xmlns:p14="http://schemas.microsoft.com/office/powerpoint/2010/main" val="992093283"/>
      </p:ext>
    </p:extLst>
  </p:cSld>
  <p:clrMapOvr>
    <a:masterClrMapping/>
  </p:clrMapOvr>
  <p:transition spd="med"/>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_Black_Alt">
    <p:bg>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3A0DD018-EAF2-48F3-ABFD-828A5E37FE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38"/>
            <a:ext cx="12192000" cy="6857929"/>
          </a:xfrm>
          <a:prstGeom prst="rect">
            <a:avLst/>
          </a:prstGeom>
        </p:spPr>
      </p:pic>
      <p:sp>
        <p:nvSpPr>
          <p:cNvPr id="56" name="Title 16"/>
          <p:cNvSpPr>
            <a:spLocks noGrp="1"/>
          </p:cNvSpPr>
          <p:nvPr userDrawn="1">
            <p:ph type="title" hasCustomPrompt="1"/>
          </p:nvPr>
        </p:nvSpPr>
        <p:spPr bwMode="gray">
          <a:xfrm>
            <a:off x="750529" y="1524000"/>
            <a:ext cx="9914678" cy="3273368"/>
          </a:xfrm>
          <a:prstGeom prst="rect">
            <a:avLst/>
          </a:prstGeom>
        </p:spPr>
        <p:txBody>
          <a:bodyPr lIns="0" tIns="0" rIns="121899" bIns="0" anchor="b" anchorCtr="0"/>
          <a:lstStyle>
            <a:lvl1pPr marL="0" algn="l" defTabSz="1218621" rtl="0" eaLnBrk="1" latinLnBrk="0" hangingPunct="1">
              <a:lnSpc>
                <a:spcPct val="75000"/>
              </a:lnSpc>
              <a:spcBef>
                <a:spcPct val="0"/>
              </a:spcBef>
              <a:buNone/>
              <a:defRPr lang="en-US" sz="7998" b="1" kern="1200" cap="none" spc="-150" baseline="0" dirty="0">
                <a:solidFill>
                  <a:schemeClr val="bg1"/>
                </a:solidFill>
                <a:latin typeface="Arial" pitchFamily="34" charset="0"/>
                <a:ea typeface="+mn-ea"/>
                <a:cs typeface="Arial" pitchFamily="34" charset="0"/>
              </a:defRPr>
            </a:lvl1pPr>
          </a:lstStyle>
          <a:p>
            <a:r>
              <a:rPr lang="en-US"/>
              <a:t>Presentation</a:t>
            </a:r>
            <a:br>
              <a:rPr lang="en-US"/>
            </a:br>
            <a:r>
              <a:rPr lang="en-US"/>
              <a:t>title here</a:t>
            </a:r>
          </a:p>
        </p:txBody>
      </p:sp>
      <p:sp>
        <p:nvSpPr>
          <p:cNvPr id="55" name="Subtitle 2"/>
          <p:cNvSpPr>
            <a:spLocks noGrp="1"/>
          </p:cNvSpPr>
          <p:nvPr userDrawn="1">
            <p:ph type="subTitle" idx="1" hasCustomPrompt="1"/>
          </p:nvPr>
        </p:nvSpPr>
        <p:spPr bwMode="gray">
          <a:xfrm>
            <a:off x="760612" y="5046115"/>
            <a:ext cx="9914678" cy="356616"/>
          </a:xfrm>
          <a:prstGeom prst="rect">
            <a:avLst/>
          </a:prstGeom>
        </p:spPr>
        <p:txBody>
          <a:bodyPr lIns="0" tIns="0" rIns="0" bIns="0" anchor="t" anchorCtr="0"/>
          <a:lstStyle>
            <a:lvl1pPr marL="0" indent="0" algn="l" defTabSz="1218621" rtl="0" eaLnBrk="1" latinLnBrk="0" hangingPunct="1">
              <a:lnSpc>
                <a:spcPct val="90000"/>
              </a:lnSpc>
              <a:spcBef>
                <a:spcPct val="0"/>
              </a:spcBef>
              <a:buNone/>
              <a:defRPr lang="en-US" sz="2599" b="0" kern="1200" cap="none" spc="0" baseline="0" dirty="0">
                <a:solidFill>
                  <a:schemeClr val="bg1"/>
                </a:solidFill>
                <a:latin typeface="Arial" pitchFamily="34" charset="0"/>
                <a:ea typeface="+mn-ea"/>
                <a:cs typeface="Arial" pitchFamily="34" charset="0"/>
              </a:defRPr>
            </a:lvl1pPr>
            <a:lvl2pPr marL="609310" indent="0" algn="ctr">
              <a:buNone/>
              <a:defRPr>
                <a:solidFill>
                  <a:schemeClr val="tx1">
                    <a:tint val="75000"/>
                  </a:schemeClr>
                </a:solidFill>
              </a:defRPr>
            </a:lvl2pPr>
            <a:lvl3pPr marL="1218621" indent="0" algn="ctr">
              <a:buNone/>
              <a:defRPr>
                <a:solidFill>
                  <a:schemeClr val="tx1">
                    <a:tint val="75000"/>
                  </a:schemeClr>
                </a:solidFill>
              </a:defRPr>
            </a:lvl3pPr>
            <a:lvl4pPr marL="1827931" indent="0" algn="ctr">
              <a:buNone/>
              <a:defRPr>
                <a:solidFill>
                  <a:schemeClr val="tx1">
                    <a:tint val="75000"/>
                  </a:schemeClr>
                </a:solidFill>
              </a:defRPr>
            </a:lvl4pPr>
            <a:lvl5pPr marL="2437242" indent="0" algn="ctr">
              <a:buNone/>
              <a:defRPr>
                <a:solidFill>
                  <a:schemeClr val="tx1">
                    <a:tint val="75000"/>
                  </a:schemeClr>
                </a:solidFill>
              </a:defRPr>
            </a:lvl5pPr>
            <a:lvl6pPr marL="3046553" indent="0" algn="ctr">
              <a:buNone/>
              <a:defRPr>
                <a:solidFill>
                  <a:schemeClr val="tx1">
                    <a:tint val="75000"/>
                  </a:schemeClr>
                </a:solidFill>
              </a:defRPr>
            </a:lvl6pPr>
            <a:lvl7pPr marL="3655863" indent="0" algn="ctr">
              <a:buNone/>
              <a:defRPr>
                <a:solidFill>
                  <a:schemeClr val="tx1">
                    <a:tint val="75000"/>
                  </a:schemeClr>
                </a:solidFill>
              </a:defRPr>
            </a:lvl7pPr>
            <a:lvl8pPr marL="4265173" indent="0" algn="ctr">
              <a:buNone/>
              <a:defRPr>
                <a:solidFill>
                  <a:schemeClr val="tx1">
                    <a:tint val="75000"/>
                  </a:schemeClr>
                </a:solidFill>
              </a:defRPr>
            </a:lvl8pPr>
            <a:lvl9pPr marL="4874484" indent="0" algn="ctr">
              <a:buNone/>
              <a:defRPr>
                <a:solidFill>
                  <a:schemeClr val="tx1">
                    <a:tint val="75000"/>
                  </a:schemeClr>
                </a:solidFill>
              </a:defRPr>
            </a:lvl9pPr>
          </a:lstStyle>
          <a:p>
            <a:r>
              <a:rPr lang="en-US"/>
              <a:t>Speaker Name | Date</a:t>
            </a:r>
          </a:p>
        </p:txBody>
      </p:sp>
      <p:grpSp>
        <p:nvGrpSpPr>
          <p:cNvPr id="68" name="Group 67">
            <a:extLst>
              <a:ext uri="{FF2B5EF4-FFF2-40B4-BE49-F238E27FC236}">
                <a16:creationId xmlns:a16="http://schemas.microsoft.com/office/drawing/2014/main" id="{C178D7C6-5801-6B30-A6A7-963788E95D85}"/>
              </a:ext>
            </a:extLst>
          </p:cNvPr>
          <p:cNvGrpSpPr>
            <a:grpSpLocks noChangeAspect="1"/>
          </p:cNvGrpSpPr>
          <p:nvPr userDrawn="1"/>
        </p:nvGrpSpPr>
        <p:grpSpPr>
          <a:xfrm rot="16200000">
            <a:off x="10152631" y="2542790"/>
            <a:ext cx="3058160" cy="1020580"/>
            <a:chOff x="547688" y="952500"/>
            <a:chExt cx="12190413" cy="4067175"/>
          </a:xfrm>
        </p:grpSpPr>
        <p:sp>
          <p:nvSpPr>
            <p:cNvPr id="69" name="Rectangle 68">
              <a:extLst>
                <a:ext uri="{FF2B5EF4-FFF2-40B4-BE49-F238E27FC236}">
                  <a16:creationId xmlns:a16="http://schemas.microsoft.com/office/drawing/2014/main" id="{69E9C34A-28EF-207E-149B-9EBED2862D65}"/>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0" name="Freeform 7">
              <a:extLst>
                <a:ext uri="{FF2B5EF4-FFF2-40B4-BE49-F238E27FC236}">
                  <a16:creationId xmlns:a16="http://schemas.microsoft.com/office/drawing/2014/main" id="{158C3A6B-F5BB-E37E-DB3D-C1ABEA07F210}"/>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1" name="Freeform 8">
              <a:extLst>
                <a:ext uri="{FF2B5EF4-FFF2-40B4-BE49-F238E27FC236}">
                  <a16:creationId xmlns:a16="http://schemas.microsoft.com/office/drawing/2014/main" id="{A56AE87F-217D-4207-F227-987A2E7FEBFA}"/>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2" name="Freeform 9">
              <a:extLst>
                <a:ext uri="{FF2B5EF4-FFF2-40B4-BE49-F238E27FC236}">
                  <a16:creationId xmlns:a16="http://schemas.microsoft.com/office/drawing/2014/main" id="{D65BCC2D-74A9-8E37-6BBC-33B74966DAC1}"/>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3" name="Freeform 10">
              <a:extLst>
                <a:ext uri="{FF2B5EF4-FFF2-40B4-BE49-F238E27FC236}">
                  <a16:creationId xmlns:a16="http://schemas.microsoft.com/office/drawing/2014/main" id="{BA8558ED-E4BF-D888-EF3B-A311AFE8C47C}"/>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4" name="Freeform 10">
              <a:extLst>
                <a:ext uri="{FF2B5EF4-FFF2-40B4-BE49-F238E27FC236}">
                  <a16:creationId xmlns:a16="http://schemas.microsoft.com/office/drawing/2014/main" id="{AFF1776F-9DBA-D51E-8F71-E1FB30D76794}"/>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5" name="Freeform 11">
              <a:extLst>
                <a:ext uri="{FF2B5EF4-FFF2-40B4-BE49-F238E27FC236}">
                  <a16:creationId xmlns:a16="http://schemas.microsoft.com/office/drawing/2014/main" id="{820D6E3B-9704-EBDF-9D0D-A571A36CBC77}"/>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
        <p:nvSpPr>
          <p:cNvPr id="76" name="Freeform 5">
            <a:extLst>
              <a:ext uri="{FF2B5EF4-FFF2-40B4-BE49-F238E27FC236}">
                <a16:creationId xmlns:a16="http://schemas.microsoft.com/office/drawing/2014/main" id="{C002511A-253F-7F55-6C4F-3D51611D3CBF}"/>
              </a:ext>
            </a:extLst>
          </p:cNvPr>
          <p:cNvSpPr>
            <a:spLocks noChangeAspect="1" noEditPoints="1"/>
          </p:cNvSpPr>
          <p:nvPr userDrawn="1"/>
        </p:nvSpPr>
        <p:spPr bwMode="auto">
          <a:xfrm>
            <a:off x="750529" y="762000"/>
            <a:ext cx="3942091" cy="312470"/>
          </a:xfrm>
          <a:custGeom>
            <a:avLst/>
            <a:gdLst>
              <a:gd name="T0" fmla="*/ 557 w 2065"/>
              <a:gd name="T1" fmla="*/ 102 h 161"/>
              <a:gd name="T2" fmla="*/ 510 w 2065"/>
              <a:gd name="T3" fmla="*/ 76 h 161"/>
              <a:gd name="T4" fmla="*/ 583 w 2065"/>
              <a:gd name="T5" fmla="*/ 36 h 161"/>
              <a:gd name="T6" fmla="*/ 641 w 2065"/>
              <a:gd name="T7" fmla="*/ 34 h 161"/>
              <a:gd name="T8" fmla="*/ 2038 w 2065"/>
              <a:gd name="T9" fmla="*/ 1 h 161"/>
              <a:gd name="T10" fmla="*/ 706 w 2065"/>
              <a:gd name="T11" fmla="*/ 59 h 161"/>
              <a:gd name="T12" fmla="*/ 733 w 2065"/>
              <a:gd name="T13" fmla="*/ 100 h 161"/>
              <a:gd name="T14" fmla="*/ 1999 w 2065"/>
              <a:gd name="T15" fmla="*/ 132 h 161"/>
              <a:gd name="T16" fmla="*/ 760 w 2065"/>
              <a:gd name="T17" fmla="*/ 84 h 161"/>
              <a:gd name="T18" fmla="*/ 787 w 2065"/>
              <a:gd name="T19" fmla="*/ 93 h 161"/>
              <a:gd name="T20" fmla="*/ 828 w 2065"/>
              <a:gd name="T21" fmla="*/ 76 h 161"/>
              <a:gd name="T22" fmla="*/ 133 w 2065"/>
              <a:gd name="T23" fmla="*/ 36 h 161"/>
              <a:gd name="T24" fmla="*/ 166 w 2065"/>
              <a:gd name="T25" fmla="*/ 78 h 161"/>
              <a:gd name="T26" fmla="*/ 225 w 2065"/>
              <a:gd name="T27" fmla="*/ 132 h 161"/>
              <a:gd name="T28" fmla="*/ 32 w 2065"/>
              <a:gd name="T29" fmla="*/ 40 h 161"/>
              <a:gd name="T30" fmla="*/ 5 w 2065"/>
              <a:gd name="T31" fmla="*/ 43 h 161"/>
              <a:gd name="T32" fmla="*/ 0 w 2065"/>
              <a:gd name="T33" fmla="*/ 114 h 161"/>
              <a:gd name="T34" fmla="*/ 266 w 2065"/>
              <a:gd name="T35" fmla="*/ 43 h 161"/>
              <a:gd name="T36" fmla="*/ 258 w 2065"/>
              <a:gd name="T37" fmla="*/ 104 h 161"/>
              <a:gd name="T38" fmla="*/ 347 w 2065"/>
              <a:gd name="T39" fmla="*/ 76 h 161"/>
              <a:gd name="T40" fmla="*/ 285 w 2065"/>
              <a:gd name="T41" fmla="*/ 103 h 161"/>
              <a:gd name="T42" fmla="*/ 429 w 2065"/>
              <a:gd name="T43" fmla="*/ 36 h 161"/>
              <a:gd name="T44" fmla="*/ 479 w 2065"/>
              <a:gd name="T45" fmla="*/ 128 h 161"/>
              <a:gd name="T46" fmla="*/ 479 w 2065"/>
              <a:gd name="T47" fmla="*/ 36 h 161"/>
              <a:gd name="T48" fmla="*/ 354 w 2065"/>
              <a:gd name="T49" fmla="*/ 132 h 161"/>
              <a:gd name="T50" fmla="*/ 382 w 2065"/>
              <a:gd name="T51" fmla="*/ 55 h 161"/>
              <a:gd name="T52" fmla="*/ 1387 w 2065"/>
              <a:gd name="T53" fmla="*/ 84 h 161"/>
              <a:gd name="T54" fmla="*/ 1335 w 2065"/>
              <a:gd name="T55" fmla="*/ 58 h 161"/>
              <a:gd name="T56" fmla="*/ 1834 w 2065"/>
              <a:gd name="T57" fmla="*/ 132 h 161"/>
              <a:gd name="T58" fmla="*/ 1748 w 2065"/>
              <a:gd name="T59" fmla="*/ 34 h 161"/>
              <a:gd name="T60" fmla="*/ 1748 w 2065"/>
              <a:gd name="T61" fmla="*/ 34 h 161"/>
              <a:gd name="T62" fmla="*/ 1773 w 2065"/>
              <a:gd name="T63" fmla="*/ 84 h 161"/>
              <a:gd name="T64" fmla="*/ 1465 w 2065"/>
              <a:gd name="T65" fmla="*/ 109 h 161"/>
              <a:gd name="T66" fmla="*/ 1480 w 2065"/>
              <a:gd name="T67" fmla="*/ 148 h 161"/>
              <a:gd name="T68" fmla="*/ 1442 w 2065"/>
              <a:gd name="T69" fmla="*/ 102 h 161"/>
              <a:gd name="T70" fmla="*/ 1675 w 2065"/>
              <a:gd name="T71" fmla="*/ 37 h 161"/>
              <a:gd name="T72" fmla="*/ 1655 w 2065"/>
              <a:gd name="T73" fmla="*/ 7 h 161"/>
              <a:gd name="T74" fmla="*/ 1648 w 2065"/>
              <a:gd name="T75" fmla="*/ 132 h 161"/>
              <a:gd name="T76" fmla="*/ 1526 w 2065"/>
              <a:gd name="T77" fmla="*/ 36 h 161"/>
              <a:gd name="T78" fmla="*/ 1528 w 2065"/>
              <a:gd name="T79" fmla="*/ 161 h 161"/>
              <a:gd name="T80" fmla="*/ 980 w 2065"/>
              <a:gd name="T81" fmla="*/ 49 h 161"/>
              <a:gd name="T82" fmla="*/ 997 w 2065"/>
              <a:gd name="T83" fmla="*/ 59 h 161"/>
              <a:gd name="T84" fmla="*/ 1250 w 2065"/>
              <a:gd name="T85" fmla="*/ 132 h 161"/>
              <a:gd name="T86" fmla="*/ 1075 w 2065"/>
              <a:gd name="T87" fmla="*/ 49 h 161"/>
              <a:gd name="T88" fmla="*/ 1092 w 2065"/>
              <a:gd name="T89" fmla="*/ 59 h 161"/>
              <a:gd name="T90" fmla="*/ 910 w 2065"/>
              <a:gd name="T91" fmla="*/ 111 h 161"/>
              <a:gd name="T92" fmla="*/ 909 w 2065"/>
              <a:gd name="T93" fmla="*/ 34 h 161"/>
              <a:gd name="T94" fmla="*/ 910 w 2065"/>
              <a:gd name="T95" fmla="*/ 111 h 161"/>
              <a:gd name="T96" fmla="*/ 1962 w 2065"/>
              <a:gd name="T97" fmla="*/ 77 h 161"/>
              <a:gd name="T98" fmla="*/ 1962 w 2065"/>
              <a:gd name="T99" fmla="*/ 132 h 161"/>
              <a:gd name="T100" fmla="*/ 1941 w 2065"/>
              <a:gd name="T101" fmla="*/ 115 h 161"/>
              <a:gd name="T102" fmla="*/ 1193 w 2065"/>
              <a:gd name="T103" fmla="*/ 34 h 161"/>
              <a:gd name="T104" fmla="*/ 1193 w 2065"/>
              <a:gd name="T105" fmla="*/ 34 h 161"/>
              <a:gd name="T106" fmla="*/ 1218 w 2065"/>
              <a:gd name="T107"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5" h="161">
                <a:moveTo>
                  <a:pt x="530" y="34"/>
                </a:moveTo>
                <a:cubicBezTo>
                  <a:pt x="502" y="34"/>
                  <a:pt x="483" y="57"/>
                  <a:pt x="483" y="84"/>
                </a:cubicBezTo>
                <a:cubicBezTo>
                  <a:pt x="483" y="84"/>
                  <a:pt x="483" y="84"/>
                  <a:pt x="483" y="84"/>
                </a:cubicBezTo>
                <a:cubicBezTo>
                  <a:pt x="483" y="114"/>
                  <a:pt x="504" y="134"/>
                  <a:pt x="533" y="134"/>
                </a:cubicBezTo>
                <a:cubicBezTo>
                  <a:pt x="551" y="134"/>
                  <a:pt x="563" y="127"/>
                  <a:pt x="572" y="116"/>
                </a:cubicBezTo>
                <a:cubicBezTo>
                  <a:pt x="557" y="102"/>
                  <a:pt x="557" y="102"/>
                  <a:pt x="557" y="102"/>
                </a:cubicBezTo>
                <a:cubicBezTo>
                  <a:pt x="549" y="109"/>
                  <a:pt x="543" y="112"/>
                  <a:pt x="533" y="112"/>
                </a:cubicBezTo>
                <a:cubicBezTo>
                  <a:pt x="521" y="112"/>
                  <a:pt x="513" y="106"/>
                  <a:pt x="510" y="93"/>
                </a:cubicBezTo>
                <a:cubicBezTo>
                  <a:pt x="577" y="93"/>
                  <a:pt x="577" y="93"/>
                  <a:pt x="577" y="93"/>
                </a:cubicBezTo>
                <a:cubicBezTo>
                  <a:pt x="577" y="91"/>
                  <a:pt x="577" y="88"/>
                  <a:pt x="577" y="86"/>
                </a:cubicBezTo>
                <a:cubicBezTo>
                  <a:pt x="577" y="59"/>
                  <a:pt x="563" y="34"/>
                  <a:pt x="530" y="34"/>
                </a:cubicBezTo>
                <a:close/>
                <a:moveTo>
                  <a:pt x="510" y="76"/>
                </a:moveTo>
                <a:cubicBezTo>
                  <a:pt x="512" y="64"/>
                  <a:pt x="519" y="56"/>
                  <a:pt x="530" y="56"/>
                </a:cubicBezTo>
                <a:cubicBezTo>
                  <a:pt x="542" y="56"/>
                  <a:pt x="549" y="64"/>
                  <a:pt x="551" y="76"/>
                </a:cubicBezTo>
                <a:lnTo>
                  <a:pt x="510" y="76"/>
                </a:lnTo>
                <a:close/>
                <a:moveTo>
                  <a:pt x="610" y="55"/>
                </a:moveTo>
                <a:cubicBezTo>
                  <a:pt x="610" y="36"/>
                  <a:pt x="610" y="36"/>
                  <a:pt x="610" y="36"/>
                </a:cubicBezTo>
                <a:cubicBezTo>
                  <a:pt x="583" y="36"/>
                  <a:pt x="583" y="36"/>
                  <a:pt x="583" y="36"/>
                </a:cubicBezTo>
                <a:cubicBezTo>
                  <a:pt x="583" y="132"/>
                  <a:pt x="583" y="132"/>
                  <a:pt x="583" y="132"/>
                </a:cubicBezTo>
                <a:cubicBezTo>
                  <a:pt x="610" y="132"/>
                  <a:pt x="610" y="132"/>
                  <a:pt x="610" y="132"/>
                </a:cubicBezTo>
                <a:cubicBezTo>
                  <a:pt x="610" y="97"/>
                  <a:pt x="610" y="97"/>
                  <a:pt x="610" y="97"/>
                </a:cubicBezTo>
                <a:cubicBezTo>
                  <a:pt x="610" y="74"/>
                  <a:pt x="621" y="63"/>
                  <a:pt x="640" y="63"/>
                </a:cubicBezTo>
                <a:cubicBezTo>
                  <a:pt x="641" y="63"/>
                  <a:pt x="641" y="63"/>
                  <a:pt x="641" y="63"/>
                </a:cubicBezTo>
                <a:cubicBezTo>
                  <a:pt x="641" y="34"/>
                  <a:pt x="641" y="34"/>
                  <a:pt x="641" y="34"/>
                </a:cubicBezTo>
                <a:cubicBezTo>
                  <a:pt x="625" y="33"/>
                  <a:pt x="616" y="42"/>
                  <a:pt x="610" y="55"/>
                </a:cubicBezTo>
                <a:close/>
                <a:moveTo>
                  <a:pt x="2038" y="1"/>
                </a:moveTo>
                <a:cubicBezTo>
                  <a:pt x="2038" y="132"/>
                  <a:pt x="2038" y="132"/>
                  <a:pt x="2038" y="132"/>
                </a:cubicBezTo>
                <a:cubicBezTo>
                  <a:pt x="2065" y="132"/>
                  <a:pt x="2065" y="132"/>
                  <a:pt x="2065" y="132"/>
                </a:cubicBezTo>
                <a:cubicBezTo>
                  <a:pt x="2065" y="1"/>
                  <a:pt x="2065" y="1"/>
                  <a:pt x="2065" y="1"/>
                </a:cubicBezTo>
                <a:lnTo>
                  <a:pt x="2038" y="1"/>
                </a:lnTo>
                <a:close/>
                <a:moveTo>
                  <a:pt x="733" y="11"/>
                </a:moveTo>
                <a:cubicBezTo>
                  <a:pt x="706" y="11"/>
                  <a:pt x="706" y="11"/>
                  <a:pt x="706" y="11"/>
                </a:cubicBezTo>
                <a:cubicBezTo>
                  <a:pt x="706" y="36"/>
                  <a:pt x="706" y="36"/>
                  <a:pt x="706" y="36"/>
                </a:cubicBezTo>
                <a:cubicBezTo>
                  <a:pt x="694" y="36"/>
                  <a:pt x="694" y="36"/>
                  <a:pt x="694" y="36"/>
                </a:cubicBezTo>
                <a:cubicBezTo>
                  <a:pt x="694" y="59"/>
                  <a:pt x="694" y="59"/>
                  <a:pt x="694" y="59"/>
                </a:cubicBezTo>
                <a:cubicBezTo>
                  <a:pt x="706" y="59"/>
                  <a:pt x="706" y="59"/>
                  <a:pt x="706" y="59"/>
                </a:cubicBezTo>
                <a:cubicBezTo>
                  <a:pt x="706" y="105"/>
                  <a:pt x="706" y="105"/>
                  <a:pt x="706" y="105"/>
                </a:cubicBezTo>
                <a:cubicBezTo>
                  <a:pt x="706" y="127"/>
                  <a:pt x="717" y="134"/>
                  <a:pt x="734" y="134"/>
                </a:cubicBezTo>
                <a:cubicBezTo>
                  <a:pt x="743" y="134"/>
                  <a:pt x="750" y="132"/>
                  <a:pt x="755" y="128"/>
                </a:cubicBezTo>
                <a:cubicBezTo>
                  <a:pt x="755" y="106"/>
                  <a:pt x="755" y="106"/>
                  <a:pt x="755" y="106"/>
                </a:cubicBezTo>
                <a:cubicBezTo>
                  <a:pt x="752" y="108"/>
                  <a:pt x="747" y="110"/>
                  <a:pt x="742" y="110"/>
                </a:cubicBezTo>
                <a:cubicBezTo>
                  <a:pt x="736" y="110"/>
                  <a:pt x="733" y="107"/>
                  <a:pt x="733" y="100"/>
                </a:cubicBezTo>
                <a:cubicBezTo>
                  <a:pt x="733" y="59"/>
                  <a:pt x="733" y="59"/>
                  <a:pt x="733" y="59"/>
                </a:cubicBezTo>
                <a:cubicBezTo>
                  <a:pt x="756" y="59"/>
                  <a:pt x="756" y="59"/>
                  <a:pt x="756" y="59"/>
                </a:cubicBezTo>
                <a:cubicBezTo>
                  <a:pt x="756" y="36"/>
                  <a:pt x="756" y="36"/>
                  <a:pt x="756" y="36"/>
                </a:cubicBezTo>
                <a:cubicBezTo>
                  <a:pt x="733" y="36"/>
                  <a:pt x="733" y="36"/>
                  <a:pt x="733" y="36"/>
                </a:cubicBezTo>
                <a:lnTo>
                  <a:pt x="733" y="11"/>
                </a:lnTo>
                <a:close/>
                <a:moveTo>
                  <a:pt x="1999" y="132"/>
                </a:moveTo>
                <a:cubicBezTo>
                  <a:pt x="2027" y="132"/>
                  <a:pt x="2027" y="132"/>
                  <a:pt x="2027" y="132"/>
                </a:cubicBezTo>
                <a:cubicBezTo>
                  <a:pt x="2027" y="1"/>
                  <a:pt x="2027" y="1"/>
                  <a:pt x="2027" y="1"/>
                </a:cubicBezTo>
                <a:cubicBezTo>
                  <a:pt x="1999" y="1"/>
                  <a:pt x="1999" y="1"/>
                  <a:pt x="1999" y="1"/>
                </a:cubicBezTo>
                <a:lnTo>
                  <a:pt x="1999" y="132"/>
                </a:lnTo>
                <a:close/>
                <a:moveTo>
                  <a:pt x="807" y="34"/>
                </a:moveTo>
                <a:cubicBezTo>
                  <a:pt x="779" y="34"/>
                  <a:pt x="760" y="57"/>
                  <a:pt x="760" y="84"/>
                </a:cubicBezTo>
                <a:cubicBezTo>
                  <a:pt x="760" y="84"/>
                  <a:pt x="760" y="84"/>
                  <a:pt x="760" y="84"/>
                </a:cubicBezTo>
                <a:cubicBezTo>
                  <a:pt x="760" y="114"/>
                  <a:pt x="781" y="134"/>
                  <a:pt x="810" y="134"/>
                </a:cubicBezTo>
                <a:cubicBezTo>
                  <a:pt x="827" y="134"/>
                  <a:pt x="840" y="127"/>
                  <a:pt x="849" y="116"/>
                </a:cubicBezTo>
                <a:cubicBezTo>
                  <a:pt x="834" y="102"/>
                  <a:pt x="834" y="102"/>
                  <a:pt x="834" y="102"/>
                </a:cubicBezTo>
                <a:cubicBezTo>
                  <a:pt x="826" y="109"/>
                  <a:pt x="820" y="112"/>
                  <a:pt x="810" y="112"/>
                </a:cubicBezTo>
                <a:cubicBezTo>
                  <a:pt x="798" y="112"/>
                  <a:pt x="790" y="106"/>
                  <a:pt x="787" y="93"/>
                </a:cubicBezTo>
                <a:cubicBezTo>
                  <a:pt x="854" y="93"/>
                  <a:pt x="854" y="93"/>
                  <a:pt x="854" y="93"/>
                </a:cubicBezTo>
                <a:cubicBezTo>
                  <a:pt x="854" y="91"/>
                  <a:pt x="854" y="88"/>
                  <a:pt x="854" y="86"/>
                </a:cubicBezTo>
                <a:cubicBezTo>
                  <a:pt x="854" y="59"/>
                  <a:pt x="839" y="34"/>
                  <a:pt x="807" y="34"/>
                </a:cubicBezTo>
                <a:close/>
                <a:moveTo>
                  <a:pt x="787" y="76"/>
                </a:moveTo>
                <a:cubicBezTo>
                  <a:pt x="789" y="64"/>
                  <a:pt x="796" y="56"/>
                  <a:pt x="807" y="56"/>
                </a:cubicBezTo>
                <a:cubicBezTo>
                  <a:pt x="819" y="56"/>
                  <a:pt x="826" y="64"/>
                  <a:pt x="828" y="76"/>
                </a:cubicBezTo>
                <a:lnTo>
                  <a:pt x="787" y="76"/>
                </a:lnTo>
                <a:close/>
                <a:moveTo>
                  <a:pt x="220" y="34"/>
                </a:moveTo>
                <a:cubicBezTo>
                  <a:pt x="207" y="34"/>
                  <a:pt x="197" y="39"/>
                  <a:pt x="189" y="49"/>
                </a:cubicBezTo>
                <a:cubicBezTo>
                  <a:pt x="184" y="40"/>
                  <a:pt x="174" y="34"/>
                  <a:pt x="161" y="34"/>
                </a:cubicBezTo>
                <a:cubicBezTo>
                  <a:pt x="148" y="34"/>
                  <a:pt x="139" y="41"/>
                  <a:pt x="133" y="50"/>
                </a:cubicBezTo>
                <a:cubicBezTo>
                  <a:pt x="133" y="36"/>
                  <a:pt x="133" y="36"/>
                  <a:pt x="133" y="36"/>
                </a:cubicBezTo>
                <a:cubicBezTo>
                  <a:pt x="106" y="36"/>
                  <a:pt x="106" y="36"/>
                  <a:pt x="106" y="36"/>
                </a:cubicBezTo>
                <a:cubicBezTo>
                  <a:pt x="106" y="132"/>
                  <a:pt x="106" y="132"/>
                  <a:pt x="106" y="132"/>
                </a:cubicBezTo>
                <a:cubicBezTo>
                  <a:pt x="133" y="132"/>
                  <a:pt x="133" y="132"/>
                  <a:pt x="133" y="132"/>
                </a:cubicBezTo>
                <a:cubicBezTo>
                  <a:pt x="133" y="78"/>
                  <a:pt x="133" y="78"/>
                  <a:pt x="133" y="78"/>
                </a:cubicBezTo>
                <a:cubicBezTo>
                  <a:pt x="133" y="65"/>
                  <a:pt x="139" y="59"/>
                  <a:pt x="150" y="59"/>
                </a:cubicBezTo>
                <a:cubicBezTo>
                  <a:pt x="160" y="59"/>
                  <a:pt x="166" y="65"/>
                  <a:pt x="166" y="78"/>
                </a:cubicBezTo>
                <a:cubicBezTo>
                  <a:pt x="166" y="132"/>
                  <a:pt x="166" y="132"/>
                  <a:pt x="166" y="132"/>
                </a:cubicBezTo>
                <a:cubicBezTo>
                  <a:pt x="193" y="132"/>
                  <a:pt x="193" y="132"/>
                  <a:pt x="193" y="132"/>
                </a:cubicBezTo>
                <a:cubicBezTo>
                  <a:pt x="193" y="78"/>
                  <a:pt x="193" y="78"/>
                  <a:pt x="193" y="78"/>
                </a:cubicBezTo>
                <a:cubicBezTo>
                  <a:pt x="193" y="65"/>
                  <a:pt x="199" y="59"/>
                  <a:pt x="209" y="59"/>
                </a:cubicBezTo>
                <a:cubicBezTo>
                  <a:pt x="220" y="59"/>
                  <a:pt x="225" y="65"/>
                  <a:pt x="225" y="78"/>
                </a:cubicBezTo>
                <a:cubicBezTo>
                  <a:pt x="225" y="132"/>
                  <a:pt x="225" y="132"/>
                  <a:pt x="225" y="132"/>
                </a:cubicBezTo>
                <a:cubicBezTo>
                  <a:pt x="253" y="132"/>
                  <a:pt x="253" y="132"/>
                  <a:pt x="253" y="132"/>
                </a:cubicBezTo>
                <a:cubicBezTo>
                  <a:pt x="253" y="69"/>
                  <a:pt x="253" y="69"/>
                  <a:pt x="253" y="69"/>
                </a:cubicBezTo>
                <a:cubicBezTo>
                  <a:pt x="253" y="46"/>
                  <a:pt x="240" y="34"/>
                  <a:pt x="220" y="34"/>
                </a:cubicBezTo>
                <a:close/>
                <a:moveTo>
                  <a:pt x="59" y="57"/>
                </a:moveTo>
                <a:cubicBezTo>
                  <a:pt x="38" y="51"/>
                  <a:pt x="32" y="49"/>
                  <a:pt x="32" y="40"/>
                </a:cubicBezTo>
                <a:cubicBezTo>
                  <a:pt x="32" y="40"/>
                  <a:pt x="32" y="40"/>
                  <a:pt x="32" y="40"/>
                </a:cubicBezTo>
                <a:cubicBezTo>
                  <a:pt x="32" y="34"/>
                  <a:pt x="38" y="29"/>
                  <a:pt x="48" y="29"/>
                </a:cubicBezTo>
                <a:cubicBezTo>
                  <a:pt x="59" y="29"/>
                  <a:pt x="70" y="34"/>
                  <a:pt x="81" y="41"/>
                </a:cubicBezTo>
                <a:cubicBezTo>
                  <a:pt x="95" y="21"/>
                  <a:pt x="95" y="21"/>
                  <a:pt x="95" y="21"/>
                </a:cubicBezTo>
                <a:cubicBezTo>
                  <a:pt x="83" y="10"/>
                  <a:pt x="67" y="5"/>
                  <a:pt x="49" y="5"/>
                </a:cubicBezTo>
                <a:cubicBezTo>
                  <a:pt x="23" y="5"/>
                  <a:pt x="5" y="20"/>
                  <a:pt x="5" y="43"/>
                </a:cubicBezTo>
                <a:cubicBezTo>
                  <a:pt x="5" y="43"/>
                  <a:pt x="5" y="43"/>
                  <a:pt x="5" y="43"/>
                </a:cubicBezTo>
                <a:cubicBezTo>
                  <a:pt x="5" y="68"/>
                  <a:pt x="21" y="75"/>
                  <a:pt x="46" y="81"/>
                </a:cubicBezTo>
                <a:cubicBezTo>
                  <a:pt x="67" y="87"/>
                  <a:pt x="72" y="90"/>
                  <a:pt x="72" y="97"/>
                </a:cubicBezTo>
                <a:cubicBezTo>
                  <a:pt x="72" y="98"/>
                  <a:pt x="72" y="98"/>
                  <a:pt x="72" y="98"/>
                </a:cubicBezTo>
                <a:cubicBezTo>
                  <a:pt x="72" y="105"/>
                  <a:pt x="65" y="109"/>
                  <a:pt x="54" y="109"/>
                </a:cubicBezTo>
                <a:cubicBezTo>
                  <a:pt x="39" y="109"/>
                  <a:pt x="27" y="104"/>
                  <a:pt x="16" y="94"/>
                </a:cubicBezTo>
                <a:cubicBezTo>
                  <a:pt x="0" y="114"/>
                  <a:pt x="0" y="114"/>
                  <a:pt x="0" y="114"/>
                </a:cubicBezTo>
                <a:cubicBezTo>
                  <a:pt x="15" y="127"/>
                  <a:pt x="34" y="134"/>
                  <a:pt x="53" y="134"/>
                </a:cubicBezTo>
                <a:cubicBezTo>
                  <a:pt x="80" y="134"/>
                  <a:pt x="99" y="120"/>
                  <a:pt x="99" y="95"/>
                </a:cubicBezTo>
                <a:cubicBezTo>
                  <a:pt x="99" y="95"/>
                  <a:pt x="99" y="95"/>
                  <a:pt x="99" y="95"/>
                </a:cubicBezTo>
                <a:cubicBezTo>
                  <a:pt x="99" y="73"/>
                  <a:pt x="85" y="63"/>
                  <a:pt x="59" y="57"/>
                </a:cubicBezTo>
                <a:close/>
                <a:moveTo>
                  <a:pt x="304" y="35"/>
                </a:moveTo>
                <a:cubicBezTo>
                  <a:pt x="287" y="35"/>
                  <a:pt x="277" y="38"/>
                  <a:pt x="266" y="43"/>
                </a:cubicBezTo>
                <a:cubicBezTo>
                  <a:pt x="273" y="63"/>
                  <a:pt x="273" y="63"/>
                  <a:pt x="273" y="63"/>
                </a:cubicBezTo>
                <a:cubicBezTo>
                  <a:pt x="282" y="60"/>
                  <a:pt x="289" y="58"/>
                  <a:pt x="300" y="58"/>
                </a:cubicBezTo>
                <a:cubicBezTo>
                  <a:pt x="313" y="58"/>
                  <a:pt x="320" y="64"/>
                  <a:pt x="320" y="76"/>
                </a:cubicBezTo>
                <a:cubicBezTo>
                  <a:pt x="320" y="77"/>
                  <a:pt x="320" y="77"/>
                  <a:pt x="320" y="77"/>
                </a:cubicBezTo>
                <a:cubicBezTo>
                  <a:pt x="314" y="75"/>
                  <a:pt x="307" y="73"/>
                  <a:pt x="297" y="73"/>
                </a:cubicBezTo>
                <a:cubicBezTo>
                  <a:pt x="274" y="73"/>
                  <a:pt x="258" y="83"/>
                  <a:pt x="258" y="104"/>
                </a:cubicBezTo>
                <a:cubicBezTo>
                  <a:pt x="258" y="104"/>
                  <a:pt x="258" y="104"/>
                  <a:pt x="258" y="104"/>
                </a:cubicBezTo>
                <a:cubicBezTo>
                  <a:pt x="258" y="123"/>
                  <a:pt x="273" y="134"/>
                  <a:pt x="291" y="134"/>
                </a:cubicBezTo>
                <a:cubicBezTo>
                  <a:pt x="304" y="134"/>
                  <a:pt x="314" y="129"/>
                  <a:pt x="320" y="122"/>
                </a:cubicBezTo>
                <a:cubicBezTo>
                  <a:pt x="320" y="132"/>
                  <a:pt x="320" y="132"/>
                  <a:pt x="320" y="132"/>
                </a:cubicBezTo>
                <a:cubicBezTo>
                  <a:pt x="347" y="132"/>
                  <a:pt x="347" y="132"/>
                  <a:pt x="347" y="132"/>
                </a:cubicBezTo>
                <a:cubicBezTo>
                  <a:pt x="347" y="76"/>
                  <a:pt x="347" y="76"/>
                  <a:pt x="347" y="76"/>
                </a:cubicBezTo>
                <a:cubicBezTo>
                  <a:pt x="347" y="63"/>
                  <a:pt x="343" y="53"/>
                  <a:pt x="336" y="46"/>
                </a:cubicBezTo>
                <a:cubicBezTo>
                  <a:pt x="329" y="39"/>
                  <a:pt x="319" y="35"/>
                  <a:pt x="304" y="35"/>
                </a:cubicBezTo>
                <a:close/>
                <a:moveTo>
                  <a:pt x="321" y="98"/>
                </a:moveTo>
                <a:cubicBezTo>
                  <a:pt x="321" y="108"/>
                  <a:pt x="312" y="115"/>
                  <a:pt x="299" y="115"/>
                </a:cubicBezTo>
                <a:cubicBezTo>
                  <a:pt x="291" y="115"/>
                  <a:pt x="285" y="111"/>
                  <a:pt x="285" y="103"/>
                </a:cubicBezTo>
                <a:cubicBezTo>
                  <a:pt x="285" y="103"/>
                  <a:pt x="285" y="103"/>
                  <a:pt x="285" y="103"/>
                </a:cubicBezTo>
                <a:cubicBezTo>
                  <a:pt x="285" y="94"/>
                  <a:pt x="292" y="90"/>
                  <a:pt x="303" y="90"/>
                </a:cubicBezTo>
                <a:cubicBezTo>
                  <a:pt x="310" y="90"/>
                  <a:pt x="316" y="91"/>
                  <a:pt x="321" y="93"/>
                </a:cubicBezTo>
                <a:lnTo>
                  <a:pt x="321" y="98"/>
                </a:lnTo>
                <a:close/>
                <a:moveTo>
                  <a:pt x="457" y="11"/>
                </a:moveTo>
                <a:cubicBezTo>
                  <a:pt x="429" y="11"/>
                  <a:pt x="429" y="11"/>
                  <a:pt x="429" y="11"/>
                </a:cubicBezTo>
                <a:cubicBezTo>
                  <a:pt x="429" y="36"/>
                  <a:pt x="429" y="36"/>
                  <a:pt x="429" y="36"/>
                </a:cubicBezTo>
                <a:cubicBezTo>
                  <a:pt x="418" y="36"/>
                  <a:pt x="418" y="36"/>
                  <a:pt x="418" y="36"/>
                </a:cubicBezTo>
                <a:cubicBezTo>
                  <a:pt x="418" y="59"/>
                  <a:pt x="418" y="59"/>
                  <a:pt x="418" y="59"/>
                </a:cubicBezTo>
                <a:cubicBezTo>
                  <a:pt x="429" y="59"/>
                  <a:pt x="429" y="59"/>
                  <a:pt x="429" y="59"/>
                </a:cubicBezTo>
                <a:cubicBezTo>
                  <a:pt x="429" y="105"/>
                  <a:pt x="429" y="105"/>
                  <a:pt x="429" y="105"/>
                </a:cubicBezTo>
                <a:cubicBezTo>
                  <a:pt x="429" y="127"/>
                  <a:pt x="441" y="134"/>
                  <a:pt x="457" y="134"/>
                </a:cubicBezTo>
                <a:cubicBezTo>
                  <a:pt x="466" y="134"/>
                  <a:pt x="473" y="132"/>
                  <a:pt x="479" y="128"/>
                </a:cubicBezTo>
                <a:cubicBezTo>
                  <a:pt x="479" y="106"/>
                  <a:pt x="479" y="106"/>
                  <a:pt x="479" y="106"/>
                </a:cubicBezTo>
                <a:cubicBezTo>
                  <a:pt x="475" y="108"/>
                  <a:pt x="470" y="110"/>
                  <a:pt x="465" y="110"/>
                </a:cubicBezTo>
                <a:cubicBezTo>
                  <a:pt x="459" y="110"/>
                  <a:pt x="457" y="107"/>
                  <a:pt x="457" y="100"/>
                </a:cubicBezTo>
                <a:cubicBezTo>
                  <a:pt x="457" y="59"/>
                  <a:pt x="457" y="59"/>
                  <a:pt x="457" y="59"/>
                </a:cubicBezTo>
                <a:cubicBezTo>
                  <a:pt x="479" y="59"/>
                  <a:pt x="479" y="59"/>
                  <a:pt x="479" y="59"/>
                </a:cubicBezTo>
                <a:cubicBezTo>
                  <a:pt x="479" y="36"/>
                  <a:pt x="479" y="36"/>
                  <a:pt x="479" y="36"/>
                </a:cubicBezTo>
                <a:cubicBezTo>
                  <a:pt x="457" y="36"/>
                  <a:pt x="457" y="36"/>
                  <a:pt x="457" y="36"/>
                </a:cubicBezTo>
                <a:lnTo>
                  <a:pt x="457" y="11"/>
                </a:lnTo>
                <a:close/>
                <a:moveTo>
                  <a:pt x="382" y="55"/>
                </a:moveTo>
                <a:cubicBezTo>
                  <a:pt x="382" y="36"/>
                  <a:pt x="382" y="36"/>
                  <a:pt x="382" y="36"/>
                </a:cubicBezTo>
                <a:cubicBezTo>
                  <a:pt x="354" y="36"/>
                  <a:pt x="354" y="36"/>
                  <a:pt x="354" y="36"/>
                </a:cubicBezTo>
                <a:cubicBezTo>
                  <a:pt x="354" y="132"/>
                  <a:pt x="354" y="132"/>
                  <a:pt x="354" y="132"/>
                </a:cubicBezTo>
                <a:cubicBezTo>
                  <a:pt x="382" y="132"/>
                  <a:pt x="382" y="132"/>
                  <a:pt x="382" y="132"/>
                </a:cubicBezTo>
                <a:cubicBezTo>
                  <a:pt x="382" y="97"/>
                  <a:pt x="382" y="97"/>
                  <a:pt x="382" y="97"/>
                </a:cubicBezTo>
                <a:cubicBezTo>
                  <a:pt x="382" y="74"/>
                  <a:pt x="393" y="63"/>
                  <a:pt x="411" y="63"/>
                </a:cubicBezTo>
                <a:cubicBezTo>
                  <a:pt x="412" y="63"/>
                  <a:pt x="412" y="63"/>
                  <a:pt x="412" y="63"/>
                </a:cubicBezTo>
                <a:cubicBezTo>
                  <a:pt x="412" y="34"/>
                  <a:pt x="412" y="34"/>
                  <a:pt x="412" y="34"/>
                </a:cubicBezTo>
                <a:cubicBezTo>
                  <a:pt x="396" y="33"/>
                  <a:pt x="387" y="42"/>
                  <a:pt x="382" y="55"/>
                </a:cubicBezTo>
                <a:close/>
                <a:moveTo>
                  <a:pt x="1335" y="34"/>
                </a:moveTo>
                <a:cubicBezTo>
                  <a:pt x="1305" y="34"/>
                  <a:pt x="1283" y="56"/>
                  <a:pt x="1283" y="84"/>
                </a:cubicBezTo>
                <a:cubicBezTo>
                  <a:pt x="1283" y="84"/>
                  <a:pt x="1283" y="84"/>
                  <a:pt x="1283" y="84"/>
                </a:cubicBezTo>
                <a:cubicBezTo>
                  <a:pt x="1283" y="112"/>
                  <a:pt x="1305" y="134"/>
                  <a:pt x="1335" y="134"/>
                </a:cubicBezTo>
                <a:cubicBezTo>
                  <a:pt x="1365" y="134"/>
                  <a:pt x="1387" y="112"/>
                  <a:pt x="1387" y="84"/>
                </a:cubicBezTo>
                <a:cubicBezTo>
                  <a:pt x="1387" y="84"/>
                  <a:pt x="1387" y="84"/>
                  <a:pt x="1387" y="84"/>
                </a:cubicBezTo>
                <a:cubicBezTo>
                  <a:pt x="1387" y="56"/>
                  <a:pt x="1365" y="34"/>
                  <a:pt x="1335" y="34"/>
                </a:cubicBezTo>
                <a:close/>
                <a:moveTo>
                  <a:pt x="1360" y="84"/>
                </a:moveTo>
                <a:cubicBezTo>
                  <a:pt x="1360" y="99"/>
                  <a:pt x="1351" y="111"/>
                  <a:pt x="1335" y="111"/>
                </a:cubicBezTo>
                <a:cubicBezTo>
                  <a:pt x="1320" y="111"/>
                  <a:pt x="1310" y="98"/>
                  <a:pt x="1310" y="84"/>
                </a:cubicBezTo>
                <a:cubicBezTo>
                  <a:pt x="1310" y="84"/>
                  <a:pt x="1310" y="84"/>
                  <a:pt x="1310" y="84"/>
                </a:cubicBezTo>
                <a:cubicBezTo>
                  <a:pt x="1310" y="70"/>
                  <a:pt x="1319" y="58"/>
                  <a:pt x="1335" y="58"/>
                </a:cubicBezTo>
                <a:cubicBezTo>
                  <a:pt x="1350" y="58"/>
                  <a:pt x="1360" y="70"/>
                  <a:pt x="1360" y="84"/>
                </a:cubicBezTo>
                <a:close/>
                <a:moveTo>
                  <a:pt x="1834" y="55"/>
                </a:moveTo>
                <a:cubicBezTo>
                  <a:pt x="1834" y="36"/>
                  <a:pt x="1834" y="36"/>
                  <a:pt x="1834" y="36"/>
                </a:cubicBezTo>
                <a:cubicBezTo>
                  <a:pt x="1807" y="36"/>
                  <a:pt x="1807" y="36"/>
                  <a:pt x="1807" y="36"/>
                </a:cubicBezTo>
                <a:cubicBezTo>
                  <a:pt x="1807" y="132"/>
                  <a:pt x="1807" y="132"/>
                  <a:pt x="1807" y="132"/>
                </a:cubicBezTo>
                <a:cubicBezTo>
                  <a:pt x="1834" y="132"/>
                  <a:pt x="1834" y="132"/>
                  <a:pt x="1834" y="132"/>
                </a:cubicBezTo>
                <a:cubicBezTo>
                  <a:pt x="1834" y="97"/>
                  <a:pt x="1834" y="97"/>
                  <a:pt x="1834" y="97"/>
                </a:cubicBezTo>
                <a:cubicBezTo>
                  <a:pt x="1834" y="74"/>
                  <a:pt x="1845" y="63"/>
                  <a:pt x="1863" y="63"/>
                </a:cubicBezTo>
                <a:cubicBezTo>
                  <a:pt x="1865" y="63"/>
                  <a:pt x="1865" y="63"/>
                  <a:pt x="1865" y="63"/>
                </a:cubicBezTo>
                <a:cubicBezTo>
                  <a:pt x="1865" y="34"/>
                  <a:pt x="1865" y="34"/>
                  <a:pt x="1865" y="34"/>
                </a:cubicBezTo>
                <a:cubicBezTo>
                  <a:pt x="1848" y="33"/>
                  <a:pt x="1839" y="42"/>
                  <a:pt x="1834" y="55"/>
                </a:cubicBezTo>
                <a:close/>
                <a:moveTo>
                  <a:pt x="1748" y="34"/>
                </a:moveTo>
                <a:cubicBezTo>
                  <a:pt x="1718" y="34"/>
                  <a:pt x="1696" y="56"/>
                  <a:pt x="1696" y="84"/>
                </a:cubicBezTo>
                <a:cubicBezTo>
                  <a:pt x="1696" y="84"/>
                  <a:pt x="1696" y="84"/>
                  <a:pt x="1696" y="84"/>
                </a:cubicBezTo>
                <a:cubicBezTo>
                  <a:pt x="1696" y="112"/>
                  <a:pt x="1718" y="134"/>
                  <a:pt x="1748" y="134"/>
                </a:cubicBezTo>
                <a:cubicBezTo>
                  <a:pt x="1778" y="134"/>
                  <a:pt x="1800" y="112"/>
                  <a:pt x="1800" y="84"/>
                </a:cubicBezTo>
                <a:cubicBezTo>
                  <a:pt x="1800" y="84"/>
                  <a:pt x="1800" y="84"/>
                  <a:pt x="1800" y="84"/>
                </a:cubicBezTo>
                <a:cubicBezTo>
                  <a:pt x="1800" y="56"/>
                  <a:pt x="1778" y="34"/>
                  <a:pt x="1748" y="34"/>
                </a:cubicBezTo>
                <a:close/>
                <a:moveTo>
                  <a:pt x="1773" y="84"/>
                </a:moveTo>
                <a:cubicBezTo>
                  <a:pt x="1773" y="99"/>
                  <a:pt x="1764" y="111"/>
                  <a:pt x="1748" y="111"/>
                </a:cubicBezTo>
                <a:cubicBezTo>
                  <a:pt x="1733" y="111"/>
                  <a:pt x="1723" y="98"/>
                  <a:pt x="1723" y="84"/>
                </a:cubicBezTo>
                <a:cubicBezTo>
                  <a:pt x="1723" y="84"/>
                  <a:pt x="1723" y="84"/>
                  <a:pt x="1723" y="84"/>
                </a:cubicBezTo>
                <a:cubicBezTo>
                  <a:pt x="1723" y="70"/>
                  <a:pt x="1732" y="58"/>
                  <a:pt x="1748" y="58"/>
                </a:cubicBezTo>
                <a:cubicBezTo>
                  <a:pt x="1763" y="58"/>
                  <a:pt x="1773" y="70"/>
                  <a:pt x="1773" y="84"/>
                </a:cubicBezTo>
                <a:close/>
                <a:moveTo>
                  <a:pt x="1465" y="48"/>
                </a:moveTo>
                <a:cubicBezTo>
                  <a:pt x="1458" y="40"/>
                  <a:pt x="1449" y="34"/>
                  <a:pt x="1434" y="34"/>
                </a:cubicBezTo>
                <a:cubicBezTo>
                  <a:pt x="1412" y="34"/>
                  <a:pt x="1391" y="50"/>
                  <a:pt x="1391" y="79"/>
                </a:cubicBezTo>
                <a:cubicBezTo>
                  <a:pt x="1391" y="79"/>
                  <a:pt x="1391" y="79"/>
                  <a:pt x="1391" y="79"/>
                </a:cubicBezTo>
                <a:cubicBezTo>
                  <a:pt x="1391" y="108"/>
                  <a:pt x="1412" y="124"/>
                  <a:pt x="1434" y="124"/>
                </a:cubicBezTo>
                <a:cubicBezTo>
                  <a:pt x="1448" y="124"/>
                  <a:pt x="1457" y="118"/>
                  <a:pt x="1465" y="109"/>
                </a:cubicBezTo>
                <a:cubicBezTo>
                  <a:pt x="1465" y="113"/>
                  <a:pt x="1465" y="113"/>
                  <a:pt x="1465" y="113"/>
                </a:cubicBezTo>
                <a:cubicBezTo>
                  <a:pt x="1465" y="130"/>
                  <a:pt x="1457" y="139"/>
                  <a:pt x="1438" y="139"/>
                </a:cubicBezTo>
                <a:cubicBezTo>
                  <a:pt x="1425" y="139"/>
                  <a:pt x="1415" y="136"/>
                  <a:pt x="1405" y="131"/>
                </a:cubicBezTo>
                <a:cubicBezTo>
                  <a:pt x="1396" y="151"/>
                  <a:pt x="1396" y="151"/>
                  <a:pt x="1396" y="151"/>
                </a:cubicBezTo>
                <a:cubicBezTo>
                  <a:pt x="1408" y="158"/>
                  <a:pt x="1423" y="161"/>
                  <a:pt x="1439" y="161"/>
                </a:cubicBezTo>
                <a:cubicBezTo>
                  <a:pt x="1457" y="161"/>
                  <a:pt x="1471" y="157"/>
                  <a:pt x="1480" y="148"/>
                </a:cubicBezTo>
                <a:cubicBezTo>
                  <a:pt x="1488" y="140"/>
                  <a:pt x="1492" y="128"/>
                  <a:pt x="1492" y="110"/>
                </a:cubicBezTo>
                <a:cubicBezTo>
                  <a:pt x="1492" y="36"/>
                  <a:pt x="1492" y="36"/>
                  <a:pt x="1492" y="36"/>
                </a:cubicBezTo>
                <a:cubicBezTo>
                  <a:pt x="1465" y="36"/>
                  <a:pt x="1465" y="36"/>
                  <a:pt x="1465" y="36"/>
                </a:cubicBezTo>
                <a:lnTo>
                  <a:pt x="1465" y="48"/>
                </a:lnTo>
                <a:close/>
                <a:moveTo>
                  <a:pt x="1465" y="79"/>
                </a:moveTo>
                <a:cubicBezTo>
                  <a:pt x="1465" y="92"/>
                  <a:pt x="1455" y="102"/>
                  <a:pt x="1442" y="102"/>
                </a:cubicBezTo>
                <a:cubicBezTo>
                  <a:pt x="1429" y="102"/>
                  <a:pt x="1419" y="93"/>
                  <a:pt x="1419" y="79"/>
                </a:cubicBezTo>
                <a:cubicBezTo>
                  <a:pt x="1419" y="79"/>
                  <a:pt x="1419" y="79"/>
                  <a:pt x="1419" y="79"/>
                </a:cubicBezTo>
                <a:cubicBezTo>
                  <a:pt x="1419" y="66"/>
                  <a:pt x="1429" y="57"/>
                  <a:pt x="1442" y="57"/>
                </a:cubicBezTo>
                <a:cubicBezTo>
                  <a:pt x="1455" y="57"/>
                  <a:pt x="1465" y="66"/>
                  <a:pt x="1465" y="79"/>
                </a:cubicBezTo>
                <a:close/>
                <a:moveTo>
                  <a:pt x="1697" y="37"/>
                </a:moveTo>
                <a:cubicBezTo>
                  <a:pt x="1675" y="37"/>
                  <a:pt x="1675" y="37"/>
                  <a:pt x="1675" y="37"/>
                </a:cubicBezTo>
                <a:cubicBezTo>
                  <a:pt x="1675" y="33"/>
                  <a:pt x="1675" y="33"/>
                  <a:pt x="1675" y="33"/>
                </a:cubicBezTo>
                <a:cubicBezTo>
                  <a:pt x="1675" y="26"/>
                  <a:pt x="1678" y="23"/>
                  <a:pt x="1684" y="23"/>
                </a:cubicBezTo>
                <a:cubicBezTo>
                  <a:pt x="1689" y="23"/>
                  <a:pt x="1693" y="24"/>
                  <a:pt x="1697" y="25"/>
                </a:cubicBezTo>
                <a:cubicBezTo>
                  <a:pt x="1697" y="2"/>
                  <a:pt x="1697" y="2"/>
                  <a:pt x="1697" y="2"/>
                </a:cubicBezTo>
                <a:cubicBezTo>
                  <a:pt x="1692" y="1"/>
                  <a:pt x="1686" y="0"/>
                  <a:pt x="1677" y="0"/>
                </a:cubicBezTo>
                <a:cubicBezTo>
                  <a:pt x="1668" y="0"/>
                  <a:pt x="1660" y="2"/>
                  <a:pt x="1655" y="7"/>
                </a:cubicBezTo>
                <a:cubicBezTo>
                  <a:pt x="1650" y="12"/>
                  <a:pt x="1648" y="20"/>
                  <a:pt x="1648" y="31"/>
                </a:cubicBezTo>
                <a:cubicBezTo>
                  <a:pt x="1648" y="37"/>
                  <a:pt x="1648" y="37"/>
                  <a:pt x="1648" y="37"/>
                </a:cubicBezTo>
                <a:cubicBezTo>
                  <a:pt x="1636" y="37"/>
                  <a:pt x="1636" y="37"/>
                  <a:pt x="1636" y="37"/>
                </a:cubicBezTo>
                <a:cubicBezTo>
                  <a:pt x="1636" y="59"/>
                  <a:pt x="1636" y="59"/>
                  <a:pt x="1636" y="59"/>
                </a:cubicBezTo>
                <a:cubicBezTo>
                  <a:pt x="1648" y="59"/>
                  <a:pt x="1648" y="59"/>
                  <a:pt x="1648" y="59"/>
                </a:cubicBezTo>
                <a:cubicBezTo>
                  <a:pt x="1648" y="132"/>
                  <a:pt x="1648" y="132"/>
                  <a:pt x="1648" y="132"/>
                </a:cubicBezTo>
                <a:cubicBezTo>
                  <a:pt x="1675" y="132"/>
                  <a:pt x="1675" y="132"/>
                  <a:pt x="1675" y="132"/>
                </a:cubicBezTo>
                <a:cubicBezTo>
                  <a:pt x="1675" y="59"/>
                  <a:pt x="1675" y="59"/>
                  <a:pt x="1675" y="59"/>
                </a:cubicBezTo>
                <a:cubicBezTo>
                  <a:pt x="1697" y="59"/>
                  <a:pt x="1697" y="59"/>
                  <a:pt x="1697" y="59"/>
                </a:cubicBezTo>
                <a:lnTo>
                  <a:pt x="1697" y="37"/>
                </a:lnTo>
                <a:close/>
                <a:moveTo>
                  <a:pt x="1548" y="101"/>
                </a:moveTo>
                <a:cubicBezTo>
                  <a:pt x="1526" y="36"/>
                  <a:pt x="1526" y="36"/>
                  <a:pt x="1526" y="36"/>
                </a:cubicBezTo>
                <a:cubicBezTo>
                  <a:pt x="1497" y="36"/>
                  <a:pt x="1497" y="36"/>
                  <a:pt x="1497" y="36"/>
                </a:cubicBezTo>
                <a:cubicBezTo>
                  <a:pt x="1535" y="132"/>
                  <a:pt x="1535" y="132"/>
                  <a:pt x="1535" y="132"/>
                </a:cubicBezTo>
                <a:cubicBezTo>
                  <a:pt x="1532" y="137"/>
                  <a:pt x="1530" y="139"/>
                  <a:pt x="1525" y="139"/>
                </a:cubicBezTo>
                <a:cubicBezTo>
                  <a:pt x="1521" y="139"/>
                  <a:pt x="1517" y="137"/>
                  <a:pt x="1513" y="135"/>
                </a:cubicBezTo>
                <a:cubicBezTo>
                  <a:pt x="1504" y="155"/>
                  <a:pt x="1504" y="155"/>
                  <a:pt x="1504" y="155"/>
                </a:cubicBezTo>
                <a:cubicBezTo>
                  <a:pt x="1511" y="159"/>
                  <a:pt x="1519" y="161"/>
                  <a:pt x="1528" y="161"/>
                </a:cubicBezTo>
                <a:cubicBezTo>
                  <a:pt x="1545" y="161"/>
                  <a:pt x="1553" y="154"/>
                  <a:pt x="1560" y="134"/>
                </a:cubicBezTo>
                <a:cubicBezTo>
                  <a:pt x="1597" y="36"/>
                  <a:pt x="1597" y="36"/>
                  <a:pt x="1597" y="36"/>
                </a:cubicBezTo>
                <a:cubicBezTo>
                  <a:pt x="1569" y="36"/>
                  <a:pt x="1569" y="36"/>
                  <a:pt x="1569" y="36"/>
                </a:cubicBezTo>
                <a:lnTo>
                  <a:pt x="1548" y="101"/>
                </a:lnTo>
                <a:close/>
                <a:moveTo>
                  <a:pt x="1008" y="34"/>
                </a:moveTo>
                <a:cubicBezTo>
                  <a:pt x="994" y="34"/>
                  <a:pt x="986" y="41"/>
                  <a:pt x="980" y="49"/>
                </a:cubicBezTo>
                <a:cubicBezTo>
                  <a:pt x="980" y="1"/>
                  <a:pt x="980" y="1"/>
                  <a:pt x="980" y="1"/>
                </a:cubicBezTo>
                <a:cubicBezTo>
                  <a:pt x="952" y="1"/>
                  <a:pt x="952" y="1"/>
                  <a:pt x="952" y="1"/>
                </a:cubicBezTo>
                <a:cubicBezTo>
                  <a:pt x="952" y="132"/>
                  <a:pt x="952" y="132"/>
                  <a:pt x="952" y="132"/>
                </a:cubicBezTo>
                <a:cubicBezTo>
                  <a:pt x="980" y="132"/>
                  <a:pt x="980" y="132"/>
                  <a:pt x="980" y="132"/>
                </a:cubicBezTo>
                <a:cubicBezTo>
                  <a:pt x="980" y="78"/>
                  <a:pt x="980" y="78"/>
                  <a:pt x="980" y="78"/>
                </a:cubicBezTo>
                <a:cubicBezTo>
                  <a:pt x="980" y="65"/>
                  <a:pt x="986" y="59"/>
                  <a:pt x="997" y="59"/>
                </a:cubicBezTo>
                <a:cubicBezTo>
                  <a:pt x="1007" y="59"/>
                  <a:pt x="1013" y="65"/>
                  <a:pt x="1013" y="78"/>
                </a:cubicBezTo>
                <a:cubicBezTo>
                  <a:pt x="1013" y="132"/>
                  <a:pt x="1013" y="132"/>
                  <a:pt x="1013" y="132"/>
                </a:cubicBezTo>
                <a:cubicBezTo>
                  <a:pt x="1040" y="132"/>
                  <a:pt x="1040" y="132"/>
                  <a:pt x="1040" y="132"/>
                </a:cubicBezTo>
                <a:cubicBezTo>
                  <a:pt x="1040" y="70"/>
                  <a:pt x="1040" y="70"/>
                  <a:pt x="1040" y="70"/>
                </a:cubicBezTo>
                <a:cubicBezTo>
                  <a:pt x="1040" y="48"/>
                  <a:pt x="1028" y="34"/>
                  <a:pt x="1008" y="34"/>
                </a:cubicBezTo>
                <a:close/>
                <a:moveTo>
                  <a:pt x="1250" y="132"/>
                </a:moveTo>
                <a:cubicBezTo>
                  <a:pt x="1278" y="132"/>
                  <a:pt x="1278" y="132"/>
                  <a:pt x="1278" y="132"/>
                </a:cubicBezTo>
                <a:cubicBezTo>
                  <a:pt x="1278" y="1"/>
                  <a:pt x="1278" y="1"/>
                  <a:pt x="1278" y="1"/>
                </a:cubicBezTo>
                <a:cubicBezTo>
                  <a:pt x="1250" y="1"/>
                  <a:pt x="1250" y="1"/>
                  <a:pt x="1250" y="1"/>
                </a:cubicBezTo>
                <a:lnTo>
                  <a:pt x="1250" y="132"/>
                </a:lnTo>
                <a:close/>
                <a:moveTo>
                  <a:pt x="1103" y="34"/>
                </a:moveTo>
                <a:cubicBezTo>
                  <a:pt x="1089" y="34"/>
                  <a:pt x="1081" y="41"/>
                  <a:pt x="1075" y="49"/>
                </a:cubicBezTo>
                <a:cubicBezTo>
                  <a:pt x="1075" y="36"/>
                  <a:pt x="1075" y="36"/>
                  <a:pt x="1075" y="36"/>
                </a:cubicBezTo>
                <a:cubicBezTo>
                  <a:pt x="1047" y="36"/>
                  <a:pt x="1047" y="36"/>
                  <a:pt x="1047" y="36"/>
                </a:cubicBezTo>
                <a:cubicBezTo>
                  <a:pt x="1047" y="132"/>
                  <a:pt x="1047" y="132"/>
                  <a:pt x="1047" y="132"/>
                </a:cubicBezTo>
                <a:cubicBezTo>
                  <a:pt x="1075" y="132"/>
                  <a:pt x="1075" y="132"/>
                  <a:pt x="1075" y="132"/>
                </a:cubicBezTo>
                <a:cubicBezTo>
                  <a:pt x="1075" y="78"/>
                  <a:pt x="1075" y="78"/>
                  <a:pt x="1075" y="78"/>
                </a:cubicBezTo>
                <a:cubicBezTo>
                  <a:pt x="1075" y="65"/>
                  <a:pt x="1081" y="59"/>
                  <a:pt x="1092" y="59"/>
                </a:cubicBezTo>
                <a:cubicBezTo>
                  <a:pt x="1102" y="59"/>
                  <a:pt x="1108" y="65"/>
                  <a:pt x="1108" y="78"/>
                </a:cubicBezTo>
                <a:cubicBezTo>
                  <a:pt x="1108" y="132"/>
                  <a:pt x="1108" y="132"/>
                  <a:pt x="1108" y="132"/>
                </a:cubicBezTo>
                <a:cubicBezTo>
                  <a:pt x="1135" y="132"/>
                  <a:pt x="1135" y="132"/>
                  <a:pt x="1135" y="132"/>
                </a:cubicBezTo>
                <a:cubicBezTo>
                  <a:pt x="1135" y="70"/>
                  <a:pt x="1135" y="70"/>
                  <a:pt x="1135" y="70"/>
                </a:cubicBezTo>
                <a:cubicBezTo>
                  <a:pt x="1135" y="48"/>
                  <a:pt x="1123" y="34"/>
                  <a:pt x="1103" y="34"/>
                </a:cubicBezTo>
                <a:close/>
                <a:moveTo>
                  <a:pt x="910" y="111"/>
                </a:moveTo>
                <a:cubicBezTo>
                  <a:pt x="895" y="111"/>
                  <a:pt x="885" y="99"/>
                  <a:pt x="885" y="84"/>
                </a:cubicBezTo>
                <a:cubicBezTo>
                  <a:pt x="885" y="84"/>
                  <a:pt x="885" y="84"/>
                  <a:pt x="885" y="84"/>
                </a:cubicBezTo>
                <a:cubicBezTo>
                  <a:pt x="885" y="70"/>
                  <a:pt x="895" y="58"/>
                  <a:pt x="909" y="58"/>
                </a:cubicBezTo>
                <a:cubicBezTo>
                  <a:pt x="918" y="58"/>
                  <a:pt x="925" y="62"/>
                  <a:pt x="931" y="68"/>
                </a:cubicBezTo>
                <a:cubicBezTo>
                  <a:pt x="947" y="50"/>
                  <a:pt x="947" y="50"/>
                  <a:pt x="947" y="50"/>
                </a:cubicBezTo>
                <a:cubicBezTo>
                  <a:pt x="938" y="40"/>
                  <a:pt x="927" y="34"/>
                  <a:pt x="909" y="34"/>
                </a:cubicBezTo>
                <a:cubicBezTo>
                  <a:pt x="880" y="34"/>
                  <a:pt x="859" y="57"/>
                  <a:pt x="859" y="84"/>
                </a:cubicBezTo>
                <a:cubicBezTo>
                  <a:pt x="859" y="84"/>
                  <a:pt x="859" y="84"/>
                  <a:pt x="859" y="84"/>
                </a:cubicBezTo>
                <a:cubicBezTo>
                  <a:pt x="859" y="112"/>
                  <a:pt x="880" y="134"/>
                  <a:pt x="909" y="134"/>
                </a:cubicBezTo>
                <a:cubicBezTo>
                  <a:pt x="928" y="134"/>
                  <a:pt x="939" y="127"/>
                  <a:pt x="948" y="117"/>
                </a:cubicBezTo>
                <a:cubicBezTo>
                  <a:pt x="932" y="100"/>
                  <a:pt x="932" y="100"/>
                  <a:pt x="932" y="100"/>
                </a:cubicBezTo>
                <a:cubicBezTo>
                  <a:pt x="925" y="107"/>
                  <a:pt x="919" y="111"/>
                  <a:pt x="910" y="111"/>
                </a:cubicBezTo>
                <a:close/>
                <a:moveTo>
                  <a:pt x="1945" y="35"/>
                </a:moveTo>
                <a:cubicBezTo>
                  <a:pt x="1929" y="35"/>
                  <a:pt x="1918" y="38"/>
                  <a:pt x="1908" y="42"/>
                </a:cubicBezTo>
                <a:cubicBezTo>
                  <a:pt x="1915" y="63"/>
                  <a:pt x="1915" y="63"/>
                  <a:pt x="1915" y="63"/>
                </a:cubicBezTo>
                <a:cubicBezTo>
                  <a:pt x="1923" y="60"/>
                  <a:pt x="1931" y="58"/>
                  <a:pt x="1941" y="58"/>
                </a:cubicBezTo>
                <a:cubicBezTo>
                  <a:pt x="1955" y="58"/>
                  <a:pt x="1962" y="64"/>
                  <a:pt x="1962" y="76"/>
                </a:cubicBezTo>
                <a:cubicBezTo>
                  <a:pt x="1962" y="77"/>
                  <a:pt x="1962" y="77"/>
                  <a:pt x="1962" y="77"/>
                </a:cubicBezTo>
                <a:cubicBezTo>
                  <a:pt x="1955" y="75"/>
                  <a:pt x="1948" y="73"/>
                  <a:pt x="1938" y="73"/>
                </a:cubicBezTo>
                <a:cubicBezTo>
                  <a:pt x="1915" y="73"/>
                  <a:pt x="1899" y="83"/>
                  <a:pt x="1899" y="104"/>
                </a:cubicBezTo>
                <a:cubicBezTo>
                  <a:pt x="1899" y="104"/>
                  <a:pt x="1899" y="104"/>
                  <a:pt x="1899" y="104"/>
                </a:cubicBezTo>
                <a:cubicBezTo>
                  <a:pt x="1899" y="123"/>
                  <a:pt x="1914" y="134"/>
                  <a:pt x="1932" y="134"/>
                </a:cubicBezTo>
                <a:cubicBezTo>
                  <a:pt x="1946" y="134"/>
                  <a:pt x="1955" y="129"/>
                  <a:pt x="1962" y="122"/>
                </a:cubicBezTo>
                <a:cubicBezTo>
                  <a:pt x="1962" y="132"/>
                  <a:pt x="1962" y="132"/>
                  <a:pt x="1962" y="132"/>
                </a:cubicBezTo>
                <a:cubicBezTo>
                  <a:pt x="1988" y="132"/>
                  <a:pt x="1988" y="132"/>
                  <a:pt x="1988" y="132"/>
                </a:cubicBezTo>
                <a:cubicBezTo>
                  <a:pt x="1988" y="76"/>
                  <a:pt x="1988" y="76"/>
                  <a:pt x="1988" y="76"/>
                </a:cubicBezTo>
                <a:cubicBezTo>
                  <a:pt x="1988" y="63"/>
                  <a:pt x="1985" y="53"/>
                  <a:pt x="1978" y="46"/>
                </a:cubicBezTo>
                <a:cubicBezTo>
                  <a:pt x="1971" y="39"/>
                  <a:pt x="1960" y="35"/>
                  <a:pt x="1945" y="35"/>
                </a:cubicBezTo>
                <a:close/>
                <a:moveTo>
                  <a:pt x="1962" y="98"/>
                </a:moveTo>
                <a:cubicBezTo>
                  <a:pt x="1962" y="108"/>
                  <a:pt x="1953" y="115"/>
                  <a:pt x="1941" y="115"/>
                </a:cubicBezTo>
                <a:cubicBezTo>
                  <a:pt x="1932" y="115"/>
                  <a:pt x="1926" y="111"/>
                  <a:pt x="1926" y="103"/>
                </a:cubicBezTo>
                <a:cubicBezTo>
                  <a:pt x="1926" y="103"/>
                  <a:pt x="1926" y="103"/>
                  <a:pt x="1926" y="103"/>
                </a:cubicBezTo>
                <a:cubicBezTo>
                  <a:pt x="1926" y="94"/>
                  <a:pt x="1933" y="90"/>
                  <a:pt x="1945" y="90"/>
                </a:cubicBezTo>
                <a:cubicBezTo>
                  <a:pt x="1951" y="90"/>
                  <a:pt x="1957" y="91"/>
                  <a:pt x="1962" y="93"/>
                </a:cubicBezTo>
                <a:lnTo>
                  <a:pt x="1962" y="98"/>
                </a:lnTo>
                <a:close/>
                <a:moveTo>
                  <a:pt x="1193" y="34"/>
                </a:moveTo>
                <a:cubicBezTo>
                  <a:pt x="1163" y="34"/>
                  <a:pt x="1141" y="56"/>
                  <a:pt x="1141" y="84"/>
                </a:cubicBezTo>
                <a:cubicBezTo>
                  <a:pt x="1141" y="84"/>
                  <a:pt x="1141" y="84"/>
                  <a:pt x="1141" y="84"/>
                </a:cubicBezTo>
                <a:cubicBezTo>
                  <a:pt x="1141" y="112"/>
                  <a:pt x="1163" y="134"/>
                  <a:pt x="1193" y="134"/>
                </a:cubicBezTo>
                <a:cubicBezTo>
                  <a:pt x="1223" y="134"/>
                  <a:pt x="1245" y="112"/>
                  <a:pt x="1245" y="84"/>
                </a:cubicBezTo>
                <a:cubicBezTo>
                  <a:pt x="1245" y="84"/>
                  <a:pt x="1245" y="84"/>
                  <a:pt x="1245" y="84"/>
                </a:cubicBezTo>
                <a:cubicBezTo>
                  <a:pt x="1245" y="56"/>
                  <a:pt x="1223" y="34"/>
                  <a:pt x="1193" y="34"/>
                </a:cubicBezTo>
                <a:close/>
                <a:moveTo>
                  <a:pt x="1218" y="84"/>
                </a:moveTo>
                <a:cubicBezTo>
                  <a:pt x="1218" y="99"/>
                  <a:pt x="1209" y="111"/>
                  <a:pt x="1193" y="111"/>
                </a:cubicBezTo>
                <a:cubicBezTo>
                  <a:pt x="1178" y="111"/>
                  <a:pt x="1168" y="98"/>
                  <a:pt x="1168" y="84"/>
                </a:cubicBezTo>
                <a:cubicBezTo>
                  <a:pt x="1168" y="84"/>
                  <a:pt x="1168" y="84"/>
                  <a:pt x="1168" y="84"/>
                </a:cubicBezTo>
                <a:cubicBezTo>
                  <a:pt x="1168" y="70"/>
                  <a:pt x="1177" y="58"/>
                  <a:pt x="1193" y="58"/>
                </a:cubicBezTo>
                <a:cubicBezTo>
                  <a:pt x="1208" y="58"/>
                  <a:pt x="1218" y="70"/>
                  <a:pt x="1218" y="84"/>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1799"/>
          </a:p>
        </p:txBody>
      </p:sp>
      <p:sp>
        <p:nvSpPr>
          <p:cNvPr id="82" name="TextBox 81">
            <a:extLst>
              <a:ext uri="{FF2B5EF4-FFF2-40B4-BE49-F238E27FC236}">
                <a16:creationId xmlns:a16="http://schemas.microsoft.com/office/drawing/2014/main" id="{D0375F64-E651-1A0A-ABF1-9C38BA663F9F}"/>
              </a:ext>
            </a:extLst>
          </p:cNvPr>
          <p:cNvSpPr txBox="1"/>
          <p:nvPr userDrawn="1"/>
        </p:nvSpPr>
        <p:spPr>
          <a:xfrm>
            <a:off x="750529" y="6401580"/>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2026 Lenovo Internal. All rights reserved.</a:t>
            </a:r>
          </a:p>
        </p:txBody>
      </p:sp>
    </p:spTree>
    <p:extLst>
      <p:ext uri="{BB962C8B-B14F-4D97-AF65-F5344CB8AC3E}">
        <p14:creationId xmlns:p14="http://schemas.microsoft.com/office/powerpoint/2010/main" val="1189055574"/>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_White">
    <p:spTree>
      <p:nvGrpSpPr>
        <p:cNvPr id="1" name=""/>
        <p:cNvGrpSpPr/>
        <p:nvPr/>
      </p:nvGrpSpPr>
      <p:grpSpPr>
        <a:xfrm>
          <a:off x="0" y="0"/>
          <a:ext cx="0" cy="0"/>
          <a:chOff x="0" y="0"/>
          <a:chExt cx="0" cy="0"/>
        </a:xfrm>
      </p:grpSpPr>
      <p:sp>
        <p:nvSpPr>
          <p:cNvPr id="56" name="Title 16"/>
          <p:cNvSpPr>
            <a:spLocks noGrp="1"/>
          </p:cNvSpPr>
          <p:nvPr userDrawn="1">
            <p:ph type="title" hasCustomPrompt="1"/>
          </p:nvPr>
        </p:nvSpPr>
        <p:spPr bwMode="gray">
          <a:xfrm>
            <a:off x="750529" y="1527660"/>
            <a:ext cx="9914678" cy="3269709"/>
          </a:xfrm>
          <a:prstGeom prst="rect">
            <a:avLst/>
          </a:prstGeom>
        </p:spPr>
        <p:txBody>
          <a:bodyPr wrap="square"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tx1"/>
                </a:solidFill>
                <a:latin typeface="Arial" pitchFamily="34" charset="0"/>
                <a:ea typeface="+mn-ea"/>
                <a:cs typeface="Arial" pitchFamily="34" charset="0"/>
              </a:defRPr>
            </a:lvl1pPr>
          </a:lstStyle>
          <a:p>
            <a:r>
              <a:rPr lang="en-US"/>
              <a:t>Presentation</a:t>
            </a:r>
            <a:br>
              <a:rPr lang="en-US"/>
            </a:br>
            <a:r>
              <a:rPr lang="en-US"/>
              <a:t>title here</a:t>
            </a:r>
          </a:p>
        </p:txBody>
      </p:sp>
      <p:sp>
        <p:nvSpPr>
          <p:cNvPr id="55" name="Subtitle 2"/>
          <p:cNvSpPr>
            <a:spLocks noGrp="1"/>
          </p:cNvSpPr>
          <p:nvPr userDrawn="1">
            <p:ph type="subTitle" idx="1" hasCustomPrompt="1"/>
          </p:nvPr>
        </p:nvSpPr>
        <p:spPr bwMode="gray">
          <a:xfrm>
            <a:off x="760612" y="5046115"/>
            <a:ext cx="9914678" cy="356616"/>
          </a:xfrm>
          <a:prstGeom prst="rect">
            <a:avLst/>
          </a:prstGeom>
        </p:spPr>
        <p:txBody>
          <a:bodyPr lIns="0" tIns="0" rIns="0" bIns="0" anchor="t" anchorCtr="0">
            <a:noAutofit/>
          </a:bodyPr>
          <a:lstStyle>
            <a:lvl1pPr marL="0" indent="0" algn="l" defTabSz="1218987" rtl="0" eaLnBrk="1" latinLnBrk="0" hangingPunct="1">
              <a:lnSpc>
                <a:spcPct val="90000"/>
              </a:lnSpc>
              <a:spcBef>
                <a:spcPct val="0"/>
              </a:spcBef>
              <a:buNone/>
              <a:defRPr lang="en-US" sz="2600" b="0" kern="1200" cap="none" spc="0" baseline="0" dirty="0">
                <a:solidFill>
                  <a:schemeClr val="tx1"/>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Speaker Name | Date</a:t>
            </a:r>
          </a:p>
        </p:txBody>
      </p:sp>
      <p:grpSp>
        <p:nvGrpSpPr>
          <p:cNvPr id="14" name="Group 13">
            <a:extLst>
              <a:ext uri="{FF2B5EF4-FFF2-40B4-BE49-F238E27FC236}">
                <a16:creationId xmlns:a16="http://schemas.microsoft.com/office/drawing/2014/main" id="{DB6BD304-FAC7-4023-9B54-8984F7387559}"/>
              </a:ext>
            </a:extLst>
          </p:cNvPr>
          <p:cNvGrpSpPr>
            <a:grpSpLocks noChangeAspect="1"/>
          </p:cNvGrpSpPr>
          <p:nvPr userDrawn="1"/>
        </p:nvGrpSpPr>
        <p:grpSpPr>
          <a:xfrm rot="16200000">
            <a:off x="10152631" y="2542790"/>
            <a:ext cx="3058160" cy="1020580"/>
            <a:chOff x="547688" y="952500"/>
            <a:chExt cx="12190413" cy="4067175"/>
          </a:xfrm>
        </p:grpSpPr>
        <p:sp>
          <p:nvSpPr>
            <p:cNvPr id="15" name="Rectangle 14">
              <a:extLst>
                <a:ext uri="{FF2B5EF4-FFF2-40B4-BE49-F238E27FC236}">
                  <a16:creationId xmlns:a16="http://schemas.microsoft.com/office/drawing/2014/main" id="{1FBBDE3D-E4E2-42E5-9F26-00C1500EFD63}"/>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7">
              <a:extLst>
                <a:ext uri="{FF2B5EF4-FFF2-40B4-BE49-F238E27FC236}">
                  <a16:creationId xmlns:a16="http://schemas.microsoft.com/office/drawing/2014/main" id="{27C222CE-31C9-4AE2-A9DE-A34ECC37F011}"/>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8">
              <a:extLst>
                <a:ext uri="{FF2B5EF4-FFF2-40B4-BE49-F238E27FC236}">
                  <a16:creationId xmlns:a16="http://schemas.microsoft.com/office/drawing/2014/main" id="{710DBB3B-7FB8-4ACB-8FA4-3F2A105B9B99}"/>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9">
              <a:extLst>
                <a:ext uri="{FF2B5EF4-FFF2-40B4-BE49-F238E27FC236}">
                  <a16:creationId xmlns:a16="http://schemas.microsoft.com/office/drawing/2014/main" id="{3E443DA7-CC51-4460-98C4-193A7375074F}"/>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0">
              <a:extLst>
                <a:ext uri="{FF2B5EF4-FFF2-40B4-BE49-F238E27FC236}">
                  <a16:creationId xmlns:a16="http://schemas.microsoft.com/office/drawing/2014/main" id="{E1BCDB13-2B5A-46EC-B1D6-C526DEAA84B4}"/>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0">
              <a:extLst>
                <a:ext uri="{FF2B5EF4-FFF2-40B4-BE49-F238E27FC236}">
                  <a16:creationId xmlns:a16="http://schemas.microsoft.com/office/drawing/2014/main" id="{8EDDE8EA-BE8E-4066-AB4A-21CD2743549A}"/>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1">
              <a:extLst>
                <a:ext uri="{FF2B5EF4-FFF2-40B4-BE49-F238E27FC236}">
                  <a16:creationId xmlns:a16="http://schemas.microsoft.com/office/drawing/2014/main" id="{EF442D16-F34F-4D4E-A65A-8C3BC17F2FCE}"/>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2" name="Freeform 5">
            <a:extLst>
              <a:ext uri="{FF2B5EF4-FFF2-40B4-BE49-F238E27FC236}">
                <a16:creationId xmlns:a16="http://schemas.microsoft.com/office/drawing/2014/main" id="{B3FDD5DD-E6F7-480C-BC0C-F6AC555BF174}"/>
              </a:ext>
            </a:extLst>
          </p:cNvPr>
          <p:cNvSpPr>
            <a:spLocks noChangeAspect="1" noEditPoints="1"/>
          </p:cNvSpPr>
          <p:nvPr userDrawn="1"/>
        </p:nvSpPr>
        <p:spPr bwMode="auto">
          <a:xfrm>
            <a:off x="750529" y="762000"/>
            <a:ext cx="3942091" cy="312470"/>
          </a:xfrm>
          <a:custGeom>
            <a:avLst/>
            <a:gdLst>
              <a:gd name="T0" fmla="*/ 557 w 2065"/>
              <a:gd name="T1" fmla="*/ 102 h 161"/>
              <a:gd name="T2" fmla="*/ 510 w 2065"/>
              <a:gd name="T3" fmla="*/ 76 h 161"/>
              <a:gd name="T4" fmla="*/ 583 w 2065"/>
              <a:gd name="T5" fmla="*/ 36 h 161"/>
              <a:gd name="T6" fmla="*/ 641 w 2065"/>
              <a:gd name="T7" fmla="*/ 34 h 161"/>
              <a:gd name="T8" fmla="*/ 2038 w 2065"/>
              <a:gd name="T9" fmla="*/ 1 h 161"/>
              <a:gd name="T10" fmla="*/ 706 w 2065"/>
              <a:gd name="T11" fmla="*/ 59 h 161"/>
              <a:gd name="T12" fmla="*/ 733 w 2065"/>
              <a:gd name="T13" fmla="*/ 100 h 161"/>
              <a:gd name="T14" fmla="*/ 1999 w 2065"/>
              <a:gd name="T15" fmla="*/ 132 h 161"/>
              <a:gd name="T16" fmla="*/ 760 w 2065"/>
              <a:gd name="T17" fmla="*/ 84 h 161"/>
              <a:gd name="T18" fmla="*/ 787 w 2065"/>
              <a:gd name="T19" fmla="*/ 93 h 161"/>
              <a:gd name="T20" fmla="*/ 828 w 2065"/>
              <a:gd name="T21" fmla="*/ 76 h 161"/>
              <a:gd name="T22" fmla="*/ 133 w 2065"/>
              <a:gd name="T23" fmla="*/ 36 h 161"/>
              <a:gd name="T24" fmla="*/ 166 w 2065"/>
              <a:gd name="T25" fmla="*/ 78 h 161"/>
              <a:gd name="T26" fmla="*/ 225 w 2065"/>
              <a:gd name="T27" fmla="*/ 132 h 161"/>
              <a:gd name="T28" fmla="*/ 32 w 2065"/>
              <a:gd name="T29" fmla="*/ 40 h 161"/>
              <a:gd name="T30" fmla="*/ 5 w 2065"/>
              <a:gd name="T31" fmla="*/ 43 h 161"/>
              <a:gd name="T32" fmla="*/ 0 w 2065"/>
              <a:gd name="T33" fmla="*/ 114 h 161"/>
              <a:gd name="T34" fmla="*/ 266 w 2065"/>
              <a:gd name="T35" fmla="*/ 43 h 161"/>
              <a:gd name="T36" fmla="*/ 258 w 2065"/>
              <a:gd name="T37" fmla="*/ 104 h 161"/>
              <a:gd name="T38" fmla="*/ 347 w 2065"/>
              <a:gd name="T39" fmla="*/ 76 h 161"/>
              <a:gd name="T40" fmla="*/ 285 w 2065"/>
              <a:gd name="T41" fmla="*/ 103 h 161"/>
              <a:gd name="T42" fmla="*/ 429 w 2065"/>
              <a:gd name="T43" fmla="*/ 36 h 161"/>
              <a:gd name="T44" fmla="*/ 479 w 2065"/>
              <a:gd name="T45" fmla="*/ 128 h 161"/>
              <a:gd name="T46" fmla="*/ 479 w 2065"/>
              <a:gd name="T47" fmla="*/ 36 h 161"/>
              <a:gd name="T48" fmla="*/ 354 w 2065"/>
              <a:gd name="T49" fmla="*/ 132 h 161"/>
              <a:gd name="T50" fmla="*/ 382 w 2065"/>
              <a:gd name="T51" fmla="*/ 55 h 161"/>
              <a:gd name="T52" fmla="*/ 1387 w 2065"/>
              <a:gd name="T53" fmla="*/ 84 h 161"/>
              <a:gd name="T54" fmla="*/ 1335 w 2065"/>
              <a:gd name="T55" fmla="*/ 58 h 161"/>
              <a:gd name="T56" fmla="*/ 1834 w 2065"/>
              <a:gd name="T57" fmla="*/ 132 h 161"/>
              <a:gd name="T58" fmla="*/ 1748 w 2065"/>
              <a:gd name="T59" fmla="*/ 34 h 161"/>
              <a:gd name="T60" fmla="*/ 1748 w 2065"/>
              <a:gd name="T61" fmla="*/ 34 h 161"/>
              <a:gd name="T62" fmla="*/ 1773 w 2065"/>
              <a:gd name="T63" fmla="*/ 84 h 161"/>
              <a:gd name="T64" fmla="*/ 1465 w 2065"/>
              <a:gd name="T65" fmla="*/ 109 h 161"/>
              <a:gd name="T66" fmla="*/ 1480 w 2065"/>
              <a:gd name="T67" fmla="*/ 148 h 161"/>
              <a:gd name="T68" fmla="*/ 1442 w 2065"/>
              <a:gd name="T69" fmla="*/ 102 h 161"/>
              <a:gd name="T70" fmla="*/ 1675 w 2065"/>
              <a:gd name="T71" fmla="*/ 37 h 161"/>
              <a:gd name="T72" fmla="*/ 1655 w 2065"/>
              <a:gd name="T73" fmla="*/ 7 h 161"/>
              <a:gd name="T74" fmla="*/ 1648 w 2065"/>
              <a:gd name="T75" fmla="*/ 132 h 161"/>
              <a:gd name="T76" fmla="*/ 1526 w 2065"/>
              <a:gd name="T77" fmla="*/ 36 h 161"/>
              <a:gd name="T78" fmla="*/ 1528 w 2065"/>
              <a:gd name="T79" fmla="*/ 161 h 161"/>
              <a:gd name="T80" fmla="*/ 980 w 2065"/>
              <a:gd name="T81" fmla="*/ 49 h 161"/>
              <a:gd name="T82" fmla="*/ 997 w 2065"/>
              <a:gd name="T83" fmla="*/ 59 h 161"/>
              <a:gd name="T84" fmla="*/ 1250 w 2065"/>
              <a:gd name="T85" fmla="*/ 132 h 161"/>
              <a:gd name="T86" fmla="*/ 1075 w 2065"/>
              <a:gd name="T87" fmla="*/ 49 h 161"/>
              <a:gd name="T88" fmla="*/ 1092 w 2065"/>
              <a:gd name="T89" fmla="*/ 59 h 161"/>
              <a:gd name="T90" fmla="*/ 910 w 2065"/>
              <a:gd name="T91" fmla="*/ 111 h 161"/>
              <a:gd name="T92" fmla="*/ 909 w 2065"/>
              <a:gd name="T93" fmla="*/ 34 h 161"/>
              <a:gd name="T94" fmla="*/ 910 w 2065"/>
              <a:gd name="T95" fmla="*/ 111 h 161"/>
              <a:gd name="T96" fmla="*/ 1962 w 2065"/>
              <a:gd name="T97" fmla="*/ 77 h 161"/>
              <a:gd name="T98" fmla="*/ 1962 w 2065"/>
              <a:gd name="T99" fmla="*/ 132 h 161"/>
              <a:gd name="T100" fmla="*/ 1941 w 2065"/>
              <a:gd name="T101" fmla="*/ 115 h 161"/>
              <a:gd name="T102" fmla="*/ 1193 w 2065"/>
              <a:gd name="T103" fmla="*/ 34 h 161"/>
              <a:gd name="T104" fmla="*/ 1193 w 2065"/>
              <a:gd name="T105" fmla="*/ 34 h 161"/>
              <a:gd name="T106" fmla="*/ 1218 w 2065"/>
              <a:gd name="T107"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5" h="161">
                <a:moveTo>
                  <a:pt x="530" y="34"/>
                </a:moveTo>
                <a:cubicBezTo>
                  <a:pt x="502" y="34"/>
                  <a:pt x="483" y="57"/>
                  <a:pt x="483" y="84"/>
                </a:cubicBezTo>
                <a:cubicBezTo>
                  <a:pt x="483" y="84"/>
                  <a:pt x="483" y="84"/>
                  <a:pt x="483" y="84"/>
                </a:cubicBezTo>
                <a:cubicBezTo>
                  <a:pt x="483" y="114"/>
                  <a:pt x="504" y="134"/>
                  <a:pt x="533" y="134"/>
                </a:cubicBezTo>
                <a:cubicBezTo>
                  <a:pt x="551" y="134"/>
                  <a:pt x="563" y="127"/>
                  <a:pt x="572" y="116"/>
                </a:cubicBezTo>
                <a:cubicBezTo>
                  <a:pt x="557" y="102"/>
                  <a:pt x="557" y="102"/>
                  <a:pt x="557" y="102"/>
                </a:cubicBezTo>
                <a:cubicBezTo>
                  <a:pt x="549" y="109"/>
                  <a:pt x="543" y="112"/>
                  <a:pt x="533" y="112"/>
                </a:cubicBezTo>
                <a:cubicBezTo>
                  <a:pt x="521" y="112"/>
                  <a:pt x="513" y="106"/>
                  <a:pt x="510" y="93"/>
                </a:cubicBezTo>
                <a:cubicBezTo>
                  <a:pt x="577" y="93"/>
                  <a:pt x="577" y="93"/>
                  <a:pt x="577" y="93"/>
                </a:cubicBezTo>
                <a:cubicBezTo>
                  <a:pt x="577" y="91"/>
                  <a:pt x="577" y="88"/>
                  <a:pt x="577" y="86"/>
                </a:cubicBezTo>
                <a:cubicBezTo>
                  <a:pt x="577" y="59"/>
                  <a:pt x="563" y="34"/>
                  <a:pt x="530" y="34"/>
                </a:cubicBezTo>
                <a:close/>
                <a:moveTo>
                  <a:pt x="510" y="76"/>
                </a:moveTo>
                <a:cubicBezTo>
                  <a:pt x="512" y="64"/>
                  <a:pt x="519" y="56"/>
                  <a:pt x="530" y="56"/>
                </a:cubicBezTo>
                <a:cubicBezTo>
                  <a:pt x="542" y="56"/>
                  <a:pt x="549" y="64"/>
                  <a:pt x="551" y="76"/>
                </a:cubicBezTo>
                <a:lnTo>
                  <a:pt x="510" y="76"/>
                </a:lnTo>
                <a:close/>
                <a:moveTo>
                  <a:pt x="610" y="55"/>
                </a:moveTo>
                <a:cubicBezTo>
                  <a:pt x="610" y="36"/>
                  <a:pt x="610" y="36"/>
                  <a:pt x="610" y="36"/>
                </a:cubicBezTo>
                <a:cubicBezTo>
                  <a:pt x="583" y="36"/>
                  <a:pt x="583" y="36"/>
                  <a:pt x="583" y="36"/>
                </a:cubicBezTo>
                <a:cubicBezTo>
                  <a:pt x="583" y="132"/>
                  <a:pt x="583" y="132"/>
                  <a:pt x="583" y="132"/>
                </a:cubicBezTo>
                <a:cubicBezTo>
                  <a:pt x="610" y="132"/>
                  <a:pt x="610" y="132"/>
                  <a:pt x="610" y="132"/>
                </a:cubicBezTo>
                <a:cubicBezTo>
                  <a:pt x="610" y="97"/>
                  <a:pt x="610" y="97"/>
                  <a:pt x="610" y="97"/>
                </a:cubicBezTo>
                <a:cubicBezTo>
                  <a:pt x="610" y="74"/>
                  <a:pt x="621" y="63"/>
                  <a:pt x="640" y="63"/>
                </a:cubicBezTo>
                <a:cubicBezTo>
                  <a:pt x="641" y="63"/>
                  <a:pt x="641" y="63"/>
                  <a:pt x="641" y="63"/>
                </a:cubicBezTo>
                <a:cubicBezTo>
                  <a:pt x="641" y="34"/>
                  <a:pt x="641" y="34"/>
                  <a:pt x="641" y="34"/>
                </a:cubicBezTo>
                <a:cubicBezTo>
                  <a:pt x="625" y="33"/>
                  <a:pt x="616" y="42"/>
                  <a:pt x="610" y="55"/>
                </a:cubicBezTo>
                <a:close/>
                <a:moveTo>
                  <a:pt x="2038" y="1"/>
                </a:moveTo>
                <a:cubicBezTo>
                  <a:pt x="2038" y="132"/>
                  <a:pt x="2038" y="132"/>
                  <a:pt x="2038" y="132"/>
                </a:cubicBezTo>
                <a:cubicBezTo>
                  <a:pt x="2065" y="132"/>
                  <a:pt x="2065" y="132"/>
                  <a:pt x="2065" y="132"/>
                </a:cubicBezTo>
                <a:cubicBezTo>
                  <a:pt x="2065" y="1"/>
                  <a:pt x="2065" y="1"/>
                  <a:pt x="2065" y="1"/>
                </a:cubicBezTo>
                <a:lnTo>
                  <a:pt x="2038" y="1"/>
                </a:lnTo>
                <a:close/>
                <a:moveTo>
                  <a:pt x="733" y="11"/>
                </a:moveTo>
                <a:cubicBezTo>
                  <a:pt x="706" y="11"/>
                  <a:pt x="706" y="11"/>
                  <a:pt x="706" y="11"/>
                </a:cubicBezTo>
                <a:cubicBezTo>
                  <a:pt x="706" y="36"/>
                  <a:pt x="706" y="36"/>
                  <a:pt x="706" y="36"/>
                </a:cubicBezTo>
                <a:cubicBezTo>
                  <a:pt x="694" y="36"/>
                  <a:pt x="694" y="36"/>
                  <a:pt x="694" y="36"/>
                </a:cubicBezTo>
                <a:cubicBezTo>
                  <a:pt x="694" y="59"/>
                  <a:pt x="694" y="59"/>
                  <a:pt x="694" y="59"/>
                </a:cubicBezTo>
                <a:cubicBezTo>
                  <a:pt x="706" y="59"/>
                  <a:pt x="706" y="59"/>
                  <a:pt x="706" y="59"/>
                </a:cubicBezTo>
                <a:cubicBezTo>
                  <a:pt x="706" y="105"/>
                  <a:pt x="706" y="105"/>
                  <a:pt x="706" y="105"/>
                </a:cubicBezTo>
                <a:cubicBezTo>
                  <a:pt x="706" y="127"/>
                  <a:pt x="717" y="134"/>
                  <a:pt x="734" y="134"/>
                </a:cubicBezTo>
                <a:cubicBezTo>
                  <a:pt x="743" y="134"/>
                  <a:pt x="750" y="132"/>
                  <a:pt x="755" y="128"/>
                </a:cubicBezTo>
                <a:cubicBezTo>
                  <a:pt x="755" y="106"/>
                  <a:pt x="755" y="106"/>
                  <a:pt x="755" y="106"/>
                </a:cubicBezTo>
                <a:cubicBezTo>
                  <a:pt x="752" y="108"/>
                  <a:pt x="747" y="110"/>
                  <a:pt x="742" y="110"/>
                </a:cubicBezTo>
                <a:cubicBezTo>
                  <a:pt x="736" y="110"/>
                  <a:pt x="733" y="107"/>
                  <a:pt x="733" y="100"/>
                </a:cubicBezTo>
                <a:cubicBezTo>
                  <a:pt x="733" y="59"/>
                  <a:pt x="733" y="59"/>
                  <a:pt x="733" y="59"/>
                </a:cubicBezTo>
                <a:cubicBezTo>
                  <a:pt x="756" y="59"/>
                  <a:pt x="756" y="59"/>
                  <a:pt x="756" y="59"/>
                </a:cubicBezTo>
                <a:cubicBezTo>
                  <a:pt x="756" y="36"/>
                  <a:pt x="756" y="36"/>
                  <a:pt x="756" y="36"/>
                </a:cubicBezTo>
                <a:cubicBezTo>
                  <a:pt x="733" y="36"/>
                  <a:pt x="733" y="36"/>
                  <a:pt x="733" y="36"/>
                </a:cubicBezTo>
                <a:lnTo>
                  <a:pt x="733" y="11"/>
                </a:lnTo>
                <a:close/>
                <a:moveTo>
                  <a:pt x="1999" y="132"/>
                </a:moveTo>
                <a:cubicBezTo>
                  <a:pt x="2027" y="132"/>
                  <a:pt x="2027" y="132"/>
                  <a:pt x="2027" y="132"/>
                </a:cubicBezTo>
                <a:cubicBezTo>
                  <a:pt x="2027" y="1"/>
                  <a:pt x="2027" y="1"/>
                  <a:pt x="2027" y="1"/>
                </a:cubicBezTo>
                <a:cubicBezTo>
                  <a:pt x="1999" y="1"/>
                  <a:pt x="1999" y="1"/>
                  <a:pt x="1999" y="1"/>
                </a:cubicBezTo>
                <a:lnTo>
                  <a:pt x="1999" y="132"/>
                </a:lnTo>
                <a:close/>
                <a:moveTo>
                  <a:pt x="807" y="34"/>
                </a:moveTo>
                <a:cubicBezTo>
                  <a:pt x="779" y="34"/>
                  <a:pt x="760" y="57"/>
                  <a:pt x="760" y="84"/>
                </a:cubicBezTo>
                <a:cubicBezTo>
                  <a:pt x="760" y="84"/>
                  <a:pt x="760" y="84"/>
                  <a:pt x="760" y="84"/>
                </a:cubicBezTo>
                <a:cubicBezTo>
                  <a:pt x="760" y="114"/>
                  <a:pt x="781" y="134"/>
                  <a:pt x="810" y="134"/>
                </a:cubicBezTo>
                <a:cubicBezTo>
                  <a:pt x="827" y="134"/>
                  <a:pt x="840" y="127"/>
                  <a:pt x="849" y="116"/>
                </a:cubicBezTo>
                <a:cubicBezTo>
                  <a:pt x="834" y="102"/>
                  <a:pt x="834" y="102"/>
                  <a:pt x="834" y="102"/>
                </a:cubicBezTo>
                <a:cubicBezTo>
                  <a:pt x="826" y="109"/>
                  <a:pt x="820" y="112"/>
                  <a:pt x="810" y="112"/>
                </a:cubicBezTo>
                <a:cubicBezTo>
                  <a:pt x="798" y="112"/>
                  <a:pt x="790" y="106"/>
                  <a:pt x="787" y="93"/>
                </a:cubicBezTo>
                <a:cubicBezTo>
                  <a:pt x="854" y="93"/>
                  <a:pt x="854" y="93"/>
                  <a:pt x="854" y="93"/>
                </a:cubicBezTo>
                <a:cubicBezTo>
                  <a:pt x="854" y="91"/>
                  <a:pt x="854" y="88"/>
                  <a:pt x="854" y="86"/>
                </a:cubicBezTo>
                <a:cubicBezTo>
                  <a:pt x="854" y="59"/>
                  <a:pt x="839" y="34"/>
                  <a:pt x="807" y="34"/>
                </a:cubicBezTo>
                <a:close/>
                <a:moveTo>
                  <a:pt x="787" y="76"/>
                </a:moveTo>
                <a:cubicBezTo>
                  <a:pt x="789" y="64"/>
                  <a:pt x="796" y="56"/>
                  <a:pt x="807" y="56"/>
                </a:cubicBezTo>
                <a:cubicBezTo>
                  <a:pt x="819" y="56"/>
                  <a:pt x="826" y="64"/>
                  <a:pt x="828" y="76"/>
                </a:cubicBezTo>
                <a:lnTo>
                  <a:pt x="787" y="76"/>
                </a:lnTo>
                <a:close/>
                <a:moveTo>
                  <a:pt x="220" y="34"/>
                </a:moveTo>
                <a:cubicBezTo>
                  <a:pt x="207" y="34"/>
                  <a:pt x="197" y="39"/>
                  <a:pt x="189" y="49"/>
                </a:cubicBezTo>
                <a:cubicBezTo>
                  <a:pt x="184" y="40"/>
                  <a:pt x="174" y="34"/>
                  <a:pt x="161" y="34"/>
                </a:cubicBezTo>
                <a:cubicBezTo>
                  <a:pt x="148" y="34"/>
                  <a:pt x="139" y="41"/>
                  <a:pt x="133" y="50"/>
                </a:cubicBezTo>
                <a:cubicBezTo>
                  <a:pt x="133" y="36"/>
                  <a:pt x="133" y="36"/>
                  <a:pt x="133" y="36"/>
                </a:cubicBezTo>
                <a:cubicBezTo>
                  <a:pt x="106" y="36"/>
                  <a:pt x="106" y="36"/>
                  <a:pt x="106" y="36"/>
                </a:cubicBezTo>
                <a:cubicBezTo>
                  <a:pt x="106" y="132"/>
                  <a:pt x="106" y="132"/>
                  <a:pt x="106" y="132"/>
                </a:cubicBezTo>
                <a:cubicBezTo>
                  <a:pt x="133" y="132"/>
                  <a:pt x="133" y="132"/>
                  <a:pt x="133" y="132"/>
                </a:cubicBezTo>
                <a:cubicBezTo>
                  <a:pt x="133" y="78"/>
                  <a:pt x="133" y="78"/>
                  <a:pt x="133" y="78"/>
                </a:cubicBezTo>
                <a:cubicBezTo>
                  <a:pt x="133" y="65"/>
                  <a:pt x="139" y="59"/>
                  <a:pt x="150" y="59"/>
                </a:cubicBezTo>
                <a:cubicBezTo>
                  <a:pt x="160" y="59"/>
                  <a:pt x="166" y="65"/>
                  <a:pt x="166" y="78"/>
                </a:cubicBezTo>
                <a:cubicBezTo>
                  <a:pt x="166" y="132"/>
                  <a:pt x="166" y="132"/>
                  <a:pt x="166" y="132"/>
                </a:cubicBezTo>
                <a:cubicBezTo>
                  <a:pt x="193" y="132"/>
                  <a:pt x="193" y="132"/>
                  <a:pt x="193" y="132"/>
                </a:cubicBezTo>
                <a:cubicBezTo>
                  <a:pt x="193" y="78"/>
                  <a:pt x="193" y="78"/>
                  <a:pt x="193" y="78"/>
                </a:cubicBezTo>
                <a:cubicBezTo>
                  <a:pt x="193" y="65"/>
                  <a:pt x="199" y="59"/>
                  <a:pt x="209" y="59"/>
                </a:cubicBezTo>
                <a:cubicBezTo>
                  <a:pt x="220" y="59"/>
                  <a:pt x="225" y="65"/>
                  <a:pt x="225" y="78"/>
                </a:cubicBezTo>
                <a:cubicBezTo>
                  <a:pt x="225" y="132"/>
                  <a:pt x="225" y="132"/>
                  <a:pt x="225" y="132"/>
                </a:cubicBezTo>
                <a:cubicBezTo>
                  <a:pt x="253" y="132"/>
                  <a:pt x="253" y="132"/>
                  <a:pt x="253" y="132"/>
                </a:cubicBezTo>
                <a:cubicBezTo>
                  <a:pt x="253" y="69"/>
                  <a:pt x="253" y="69"/>
                  <a:pt x="253" y="69"/>
                </a:cubicBezTo>
                <a:cubicBezTo>
                  <a:pt x="253" y="46"/>
                  <a:pt x="240" y="34"/>
                  <a:pt x="220" y="34"/>
                </a:cubicBezTo>
                <a:close/>
                <a:moveTo>
                  <a:pt x="59" y="57"/>
                </a:moveTo>
                <a:cubicBezTo>
                  <a:pt x="38" y="51"/>
                  <a:pt x="32" y="49"/>
                  <a:pt x="32" y="40"/>
                </a:cubicBezTo>
                <a:cubicBezTo>
                  <a:pt x="32" y="40"/>
                  <a:pt x="32" y="40"/>
                  <a:pt x="32" y="40"/>
                </a:cubicBezTo>
                <a:cubicBezTo>
                  <a:pt x="32" y="34"/>
                  <a:pt x="38" y="29"/>
                  <a:pt x="48" y="29"/>
                </a:cubicBezTo>
                <a:cubicBezTo>
                  <a:pt x="59" y="29"/>
                  <a:pt x="70" y="34"/>
                  <a:pt x="81" y="41"/>
                </a:cubicBezTo>
                <a:cubicBezTo>
                  <a:pt x="95" y="21"/>
                  <a:pt x="95" y="21"/>
                  <a:pt x="95" y="21"/>
                </a:cubicBezTo>
                <a:cubicBezTo>
                  <a:pt x="83" y="10"/>
                  <a:pt x="67" y="5"/>
                  <a:pt x="49" y="5"/>
                </a:cubicBezTo>
                <a:cubicBezTo>
                  <a:pt x="23" y="5"/>
                  <a:pt x="5" y="20"/>
                  <a:pt x="5" y="43"/>
                </a:cubicBezTo>
                <a:cubicBezTo>
                  <a:pt x="5" y="43"/>
                  <a:pt x="5" y="43"/>
                  <a:pt x="5" y="43"/>
                </a:cubicBezTo>
                <a:cubicBezTo>
                  <a:pt x="5" y="68"/>
                  <a:pt x="21" y="75"/>
                  <a:pt x="46" y="81"/>
                </a:cubicBezTo>
                <a:cubicBezTo>
                  <a:pt x="67" y="87"/>
                  <a:pt x="72" y="90"/>
                  <a:pt x="72" y="97"/>
                </a:cubicBezTo>
                <a:cubicBezTo>
                  <a:pt x="72" y="98"/>
                  <a:pt x="72" y="98"/>
                  <a:pt x="72" y="98"/>
                </a:cubicBezTo>
                <a:cubicBezTo>
                  <a:pt x="72" y="105"/>
                  <a:pt x="65" y="109"/>
                  <a:pt x="54" y="109"/>
                </a:cubicBezTo>
                <a:cubicBezTo>
                  <a:pt x="39" y="109"/>
                  <a:pt x="27" y="104"/>
                  <a:pt x="16" y="94"/>
                </a:cubicBezTo>
                <a:cubicBezTo>
                  <a:pt x="0" y="114"/>
                  <a:pt x="0" y="114"/>
                  <a:pt x="0" y="114"/>
                </a:cubicBezTo>
                <a:cubicBezTo>
                  <a:pt x="15" y="127"/>
                  <a:pt x="34" y="134"/>
                  <a:pt x="53" y="134"/>
                </a:cubicBezTo>
                <a:cubicBezTo>
                  <a:pt x="80" y="134"/>
                  <a:pt x="99" y="120"/>
                  <a:pt x="99" y="95"/>
                </a:cubicBezTo>
                <a:cubicBezTo>
                  <a:pt x="99" y="95"/>
                  <a:pt x="99" y="95"/>
                  <a:pt x="99" y="95"/>
                </a:cubicBezTo>
                <a:cubicBezTo>
                  <a:pt x="99" y="73"/>
                  <a:pt x="85" y="63"/>
                  <a:pt x="59" y="57"/>
                </a:cubicBezTo>
                <a:close/>
                <a:moveTo>
                  <a:pt x="304" y="35"/>
                </a:moveTo>
                <a:cubicBezTo>
                  <a:pt x="287" y="35"/>
                  <a:pt x="277" y="38"/>
                  <a:pt x="266" y="43"/>
                </a:cubicBezTo>
                <a:cubicBezTo>
                  <a:pt x="273" y="63"/>
                  <a:pt x="273" y="63"/>
                  <a:pt x="273" y="63"/>
                </a:cubicBezTo>
                <a:cubicBezTo>
                  <a:pt x="282" y="60"/>
                  <a:pt x="289" y="58"/>
                  <a:pt x="300" y="58"/>
                </a:cubicBezTo>
                <a:cubicBezTo>
                  <a:pt x="313" y="58"/>
                  <a:pt x="320" y="64"/>
                  <a:pt x="320" y="76"/>
                </a:cubicBezTo>
                <a:cubicBezTo>
                  <a:pt x="320" y="77"/>
                  <a:pt x="320" y="77"/>
                  <a:pt x="320" y="77"/>
                </a:cubicBezTo>
                <a:cubicBezTo>
                  <a:pt x="314" y="75"/>
                  <a:pt x="307" y="73"/>
                  <a:pt x="297" y="73"/>
                </a:cubicBezTo>
                <a:cubicBezTo>
                  <a:pt x="274" y="73"/>
                  <a:pt x="258" y="83"/>
                  <a:pt x="258" y="104"/>
                </a:cubicBezTo>
                <a:cubicBezTo>
                  <a:pt x="258" y="104"/>
                  <a:pt x="258" y="104"/>
                  <a:pt x="258" y="104"/>
                </a:cubicBezTo>
                <a:cubicBezTo>
                  <a:pt x="258" y="123"/>
                  <a:pt x="273" y="134"/>
                  <a:pt x="291" y="134"/>
                </a:cubicBezTo>
                <a:cubicBezTo>
                  <a:pt x="304" y="134"/>
                  <a:pt x="314" y="129"/>
                  <a:pt x="320" y="122"/>
                </a:cubicBezTo>
                <a:cubicBezTo>
                  <a:pt x="320" y="132"/>
                  <a:pt x="320" y="132"/>
                  <a:pt x="320" y="132"/>
                </a:cubicBezTo>
                <a:cubicBezTo>
                  <a:pt x="347" y="132"/>
                  <a:pt x="347" y="132"/>
                  <a:pt x="347" y="132"/>
                </a:cubicBezTo>
                <a:cubicBezTo>
                  <a:pt x="347" y="76"/>
                  <a:pt x="347" y="76"/>
                  <a:pt x="347" y="76"/>
                </a:cubicBezTo>
                <a:cubicBezTo>
                  <a:pt x="347" y="63"/>
                  <a:pt x="343" y="53"/>
                  <a:pt x="336" y="46"/>
                </a:cubicBezTo>
                <a:cubicBezTo>
                  <a:pt x="329" y="39"/>
                  <a:pt x="319" y="35"/>
                  <a:pt x="304" y="35"/>
                </a:cubicBezTo>
                <a:close/>
                <a:moveTo>
                  <a:pt x="321" y="98"/>
                </a:moveTo>
                <a:cubicBezTo>
                  <a:pt x="321" y="108"/>
                  <a:pt x="312" y="115"/>
                  <a:pt x="299" y="115"/>
                </a:cubicBezTo>
                <a:cubicBezTo>
                  <a:pt x="291" y="115"/>
                  <a:pt x="285" y="111"/>
                  <a:pt x="285" y="103"/>
                </a:cubicBezTo>
                <a:cubicBezTo>
                  <a:pt x="285" y="103"/>
                  <a:pt x="285" y="103"/>
                  <a:pt x="285" y="103"/>
                </a:cubicBezTo>
                <a:cubicBezTo>
                  <a:pt x="285" y="94"/>
                  <a:pt x="292" y="90"/>
                  <a:pt x="303" y="90"/>
                </a:cubicBezTo>
                <a:cubicBezTo>
                  <a:pt x="310" y="90"/>
                  <a:pt x="316" y="91"/>
                  <a:pt x="321" y="93"/>
                </a:cubicBezTo>
                <a:lnTo>
                  <a:pt x="321" y="98"/>
                </a:lnTo>
                <a:close/>
                <a:moveTo>
                  <a:pt x="457" y="11"/>
                </a:moveTo>
                <a:cubicBezTo>
                  <a:pt x="429" y="11"/>
                  <a:pt x="429" y="11"/>
                  <a:pt x="429" y="11"/>
                </a:cubicBezTo>
                <a:cubicBezTo>
                  <a:pt x="429" y="36"/>
                  <a:pt x="429" y="36"/>
                  <a:pt x="429" y="36"/>
                </a:cubicBezTo>
                <a:cubicBezTo>
                  <a:pt x="418" y="36"/>
                  <a:pt x="418" y="36"/>
                  <a:pt x="418" y="36"/>
                </a:cubicBezTo>
                <a:cubicBezTo>
                  <a:pt x="418" y="59"/>
                  <a:pt x="418" y="59"/>
                  <a:pt x="418" y="59"/>
                </a:cubicBezTo>
                <a:cubicBezTo>
                  <a:pt x="429" y="59"/>
                  <a:pt x="429" y="59"/>
                  <a:pt x="429" y="59"/>
                </a:cubicBezTo>
                <a:cubicBezTo>
                  <a:pt x="429" y="105"/>
                  <a:pt x="429" y="105"/>
                  <a:pt x="429" y="105"/>
                </a:cubicBezTo>
                <a:cubicBezTo>
                  <a:pt x="429" y="127"/>
                  <a:pt x="441" y="134"/>
                  <a:pt x="457" y="134"/>
                </a:cubicBezTo>
                <a:cubicBezTo>
                  <a:pt x="466" y="134"/>
                  <a:pt x="473" y="132"/>
                  <a:pt x="479" y="128"/>
                </a:cubicBezTo>
                <a:cubicBezTo>
                  <a:pt x="479" y="106"/>
                  <a:pt x="479" y="106"/>
                  <a:pt x="479" y="106"/>
                </a:cubicBezTo>
                <a:cubicBezTo>
                  <a:pt x="475" y="108"/>
                  <a:pt x="470" y="110"/>
                  <a:pt x="465" y="110"/>
                </a:cubicBezTo>
                <a:cubicBezTo>
                  <a:pt x="459" y="110"/>
                  <a:pt x="457" y="107"/>
                  <a:pt x="457" y="100"/>
                </a:cubicBezTo>
                <a:cubicBezTo>
                  <a:pt x="457" y="59"/>
                  <a:pt x="457" y="59"/>
                  <a:pt x="457" y="59"/>
                </a:cubicBezTo>
                <a:cubicBezTo>
                  <a:pt x="479" y="59"/>
                  <a:pt x="479" y="59"/>
                  <a:pt x="479" y="59"/>
                </a:cubicBezTo>
                <a:cubicBezTo>
                  <a:pt x="479" y="36"/>
                  <a:pt x="479" y="36"/>
                  <a:pt x="479" y="36"/>
                </a:cubicBezTo>
                <a:cubicBezTo>
                  <a:pt x="457" y="36"/>
                  <a:pt x="457" y="36"/>
                  <a:pt x="457" y="36"/>
                </a:cubicBezTo>
                <a:lnTo>
                  <a:pt x="457" y="11"/>
                </a:lnTo>
                <a:close/>
                <a:moveTo>
                  <a:pt x="382" y="55"/>
                </a:moveTo>
                <a:cubicBezTo>
                  <a:pt x="382" y="36"/>
                  <a:pt x="382" y="36"/>
                  <a:pt x="382" y="36"/>
                </a:cubicBezTo>
                <a:cubicBezTo>
                  <a:pt x="354" y="36"/>
                  <a:pt x="354" y="36"/>
                  <a:pt x="354" y="36"/>
                </a:cubicBezTo>
                <a:cubicBezTo>
                  <a:pt x="354" y="132"/>
                  <a:pt x="354" y="132"/>
                  <a:pt x="354" y="132"/>
                </a:cubicBezTo>
                <a:cubicBezTo>
                  <a:pt x="382" y="132"/>
                  <a:pt x="382" y="132"/>
                  <a:pt x="382" y="132"/>
                </a:cubicBezTo>
                <a:cubicBezTo>
                  <a:pt x="382" y="97"/>
                  <a:pt x="382" y="97"/>
                  <a:pt x="382" y="97"/>
                </a:cubicBezTo>
                <a:cubicBezTo>
                  <a:pt x="382" y="74"/>
                  <a:pt x="393" y="63"/>
                  <a:pt x="411" y="63"/>
                </a:cubicBezTo>
                <a:cubicBezTo>
                  <a:pt x="412" y="63"/>
                  <a:pt x="412" y="63"/>
                  <a:pt x="412" y="63"/>
                </a:cubicBezTo>
                <a:cubicBezTo>
                  <a:pt x="412" y="34"/>
                  <a:pt x="412" y="34"/>
                  <a:pt x="412" y="34"/>
                </a:cubicBezTo>
                <a:cubicBezTo>
                  <a:pt x="396" y="33"/>
                  <a:pt x="387" y="42"/>
                  <a:pt x="382" y="55"/>
                </a:cubicBezTo>
                <a:close/>
                <a:moveTo>
                  <a:pt x="1335" y="34"/>
                </a:moveTo>
                <a:cubicBezTo>
                  <a:pt x="1305" y="34"/>
                  <a:pt x="1283" y="56"/>
                  <a:pt x="1283" y="84"/>
                </a:cubicBezTo>
                <a:cubicBezTo>
                  <a:pt x="1283" y="84"/>
                  <a:pt x="1283" y="84"/>
                  <a:pt x="1283" y="84"/>
                </a:cubicBezTo>
                <a:cubicBezTo>
                  <a:pt x="1283" y="112"/>
                  <a:pt x="1305" y="134"/>
                  <a:pt x="1335" y="134"/>
                </a:cubicBezTo>
                <a:cubicBezTo>
                  <a:pt x="1365" y="134"/>
                  <a:pt x="1387" y="112"/>
                  <a:pt x="1387" y="84"/>
                </a:cubicBezTo>
                <a:cubicBezTo>
                  <a:pt x="1387" y="84"/>
                  <a:pt x="1387" y="84"/>
                  <a:pt x="1387" y="84"/>
                </a:cubicBezTo>
                <a:cubicBezTo>
                  <a:pt x="1387" y="56"/>
                  <a:pt x="1365" y="34"/>
                  <a:pt x="1335" y="34"/>
                </a:cubicBezTo>
                <a:close/>
                <a:moveTo>
                  <a:pt x="1360" y="84"/>
                </a:moveTo>
                <a:cubicBezTo>
                  <a:pt x="1360" y="99"/>
                  <a:pt x="1351" y="111"/>
                  <a:pt x="1335" y="111"/>
                </a:cubicBezTo>
                <a:cubicBezTo>
                  <a:pt x="1320" y="111"/>
                  <a:pt x="1310" y="98"/>
                  <a:pt x="1310" y="84"/>
                </a:cubicBezTo>
                <a:cubicBezTo>
                  <a:pt x="1310" y="84"/>
                  <a:pt x="1310" y="84"/>
                  <a:pt x="1310" y="84"/>
                </a:cubicBezTo>
                <a:cubicBezTo>
                  <a:pt x="1310" y="70"/>
                  <a:pt x="1319" y="58"/>
                  <a:pt x="1335" y="58"/>
                </a:cubicBezTo>
                <a:cubicBezTo>
                  <a:pt x="1350" y="58"/>
                  <a:pt x="1360" y="70"/>
                  <a:pt x="1360" y="84"/>
                </a:cubicBezTo>
                <a:close/>
                <a:moveTo>
                  <a:pt x="1834" y="55"/>
                </a:moveTo>
                <a:cubicBezTo>
                  <a:pt x="1834" y="36"/>
                  <a:pt x="1834" y="36"/>
                  <a:pt x="1834" y="36"/>
                </a:cubicBezTo>
                <a:cubicBezTo>
                  <a:pt x="1807" y="36"/>
                  <a:pt x="1807" y="36"/>
                  <a:pt x="1807" y="36"/>
                </a:cubicBezTo>
                <a:cubicBezTo>
                  <a:pt x="1807" y="132"/>
                  <a:pt x="1807" y="132"/>
                  <a:pt x="1807" y="132"/>
                </a:cubicBezTo>
                <a:cubicBezTo>
                  <a:pt x="1834" y="132"/>
                  <a:pt x="1834" y="132"/>
                  <a:pt x="1834" y="132"/>
                </a:cubicBezTo>
                <a:cubicBezTo>
                  <a:pt x="1834" y="97"/>
                  <a:pt x="1834" y="97"/>
                  <a:pt x="1834" y="97"/>
                </a:cubicBezTo>
                <a:cubicBezTo>
                  <a:pt x="1834" y="74"/>
                  <a:pt x="1845" y="63"/>
                  <a:pt x="1863" y="63"/>
                </a:cubicBezTo>
                <a:cubicBezTo>
                  <a:pt x="1865" y="63"/>
                  <a:pt x="1865" y="63"/>
                  <a:pt x="1865" y="63"/>
                </a:cubicBezTo>
                <a:cubicBezTo>
                  <a:pt x="1865" y="34"/>
                  <a:pt x="1865" y="34"/>
                  <a:pt x="1865" y="34"/>
                </a:cubicBezTo>
                <a:cubicBezTo>
                  <a:pt x="1848" y="33"/>
                  <a:pt x="1839" y="42"/>
                  <a:pt x="1834" y="55"/>
                </a:cubicBezTo>
                <a:close/>
                <a:moveTo>
                  <a:pt x="1748" y="34"/>
                </a:moveTo>
                <a:cubicBezTo>
                  <a:pt x="1718" y="34"/>
                  <a:pt x="1696" y="56"/>
                  <a:pt x="1696" y="84"/>
                </a:cubicBezTo>
                <a:cubicBezTo>
                  <a:pt x="1696" y="84"/>
                  <a:pt x="1696" y="84"/>
                  <a:pt x="1696" y="84"/>
                </a:cubicBezTo>
                <a:cubicBezTo>
                  <a:pt x="1696" y="112"/>
                  <a:pt x="1718" y="134"/>
                  <a:pt x="1748" y="134"/>
                </a:cubicBezTo>
                <a:cubicBezTo>
                  <a:pt x="1778" y="134"/>
                  <a:pt x="1800" y="112"/>
                  <a:pt x="1800" y="84"/>
                </a:cubicBezTo>
                <a:cubicBezTo>
                  <a:pt x="1800" y="84"/>
                  <a:pt x="1800" y="84"/>
                  <a:pt x="1800" y="84"/>
                </a:cubicBezTo>
                <a:cubicBezTo>
                  <a:pt x="1800" y="56"/>
                  <a:pt x="1778" y="34"/>
                  <a:pt x="1748" y="34"/>
                </a:cubicBezTo>
                <a:close/>
                <a:moveTo>
                  <a:pt x="1773" y="84"/>
                </a:moveTo>
                <a:cubicBezTo>
                  <a:pt x="1773" y="99"/>
                  <a:pt x="1764" y="111"/>
                  <a:pt x="1748" y="111"/>
                </a:cubicBezTo>
                <a:cubicBezTo>
                  <a:pt x="1733" y="111"/>
                  <a:pt x="1723" y="98"/>
                  <a:pt x="1723" y="84"/>
                </a:cubicBezTo>
                <a:cubicBezTo>
                  <a:pt x="1723" y="84"/>
                  <a:pt x="1723" y="84"/>
                  <a:pt x="1723" y="84"/>
                </a:cubicBezTo>
                <a:cubicBezTo>
                  <a:pt x="1723" y="70"/>
                  <a:pt x="1732" y="58"/>
                  <a:pt x="1748" y="58"/>
                </a:cubicBezTo>
                <a:cubicBezTo>
                  <a:pt x="1763" y="58"/>
                  <a:pt x="1773" y="70"/>
                  <a:pt x="1773" y="84"/>
                </a:cubicBezTo>
                <a:close/>
                <a:moveTo>
                  <a:pt x="1465" y="48"/>
                </a:moveTo>
                <a:cubicBezTo>
                  <a:pt x="1458" y="40"/>
                  <a:pt x="1449" y="34"/>
                  <a:pt x="1434" y="34"/>
                </a:cubicBezTo>
                <a:cubicBezTo>
                  <a:pt x="1412" y="34"/>
                  <a:pt x="1391" y="50"/>
                  <a:pt x="1391" y="79"/>
                </a:cubicBezTo>
                <a:cubicBezTo>
                  <a:pt x="1391" y="79"/>
                  <a:pt x="1391" y="79"/>
                  <a:pt x="1391" y="79"/>
                </a:cubicBezTo>
                <a:cubicBezTo>
                  <a:pt x="1391" y="108"/>
                  <a:pt x="1412" y="124"/>
                  <a:pt x="1434" y="124"/>
                </a:cubicBezTo>
                <a:cubicBezTo>
                  <a:pt x="1448" y="124"/>
                  <a:pt x="1457" y="118"/>
                  <a:pt x="1465" y="109"/>
                </a:cubicBezTo>
                <a:cubicBezTo>
                  <a:pt x="1465" y="113"/>
                  <a:pt x="1465" y="113"/>
                  <a:pt x="1465" y="113"/>
                </a:cubicBezTo>
                <a:cubicBezTo>
                  <a:pt x="1465" y="130"/>
                  <a:pt x="1457" y="139"/>
                  <a:pt x="1438" y="139"/>
                </a:cubicBezTo>
                <a:cubicBezTo>
                  <a:pt x="1425" y="139"/>
                  <a:pt x="1415" y="136"/>
                  <a:pt x="1405" y="131"/>
                </a:cubicBezTo>
                <a:cubicBezTo>
                  <a:pt x="1396" y="151"/>
                  <a:pt x="1396" y="151"/>
                  <a:pt x="1396" y="151"/>
                </a:cubicBezTo>
                <a:cubicBezTo>
                  <a:pt x="1408" y="158"/>
                  <a:pt x="1423" y="161"/>
                  <a:pt x="1439" y="161"/>
                </a:cubicBezTo>
                <a:cubicBezTo>
                  <a:pt x="1457" y="161"/>
                  <a:pt x="1471" y="157"/>
                  <a:pt x="1480" y="148"/>
                </a:cubicBezTo>
                <a:cubicBezTo>
                  <a:pt x="1488" y="140"/>
                  <a:pt x="1492" y="128"/>
                  <a:pt x="1492" y="110"/>
                </a:cubicBezTo>
                <a:cubicBezTo>
                  <a:pt x="1492" y="36"/>
                  <a:pt x="1492" y="36"/>
                  <a:pt x="1492" y="36"/>
                </a:cubicBezTo>
                <a:cubicBezTo>
                  <a:pt x="1465" y="36"/>
                  <a:pt x="1465" y="36"/>
                  <a:pt x="1465" y="36"/>
                </a:cubicBezTo>
                <a:lnTo>
                  <a:pt x="1465" y="48"/>
                </a:lnTo>
                <a:close/>
                <a:moveTo>
                  <a:pt x="1465" y="79"/>
                </a:moveTo>
                <a:cubicBezTo>
                  <a:pt x="1465" y="92"/>
                  <a:pt x="1455" y="102"/>
                  <a:pt x="1442" y="102"/>
                </a:cubicBezTo>
                <a:cubicBezTo>
                  <a:pt x="1429" y="102"/>
                  <a:pt x="1419" y="93"/>
                  <a:pt x="1419" y="79"/>
                </a:cubicBezTo>
                <a:cubicBezTo>
                  <a:pt x="1419" y="79"/>
                  <a:pt x="1419" y="79"/>
                  <a:pt x="1419" y="79"/>
                </a:cubicBezTo>
                <a:cubicBezTo>
                  <a:pt x="1419" y="66"/>
                  <a:pt x="1429" y="57"/>
                  <a:pt x="1442" y="57"/>
                </a:cubicBezTo>
                <a:cubicBezTo>
                  <a:pt x="1455" y="57"/>
                  <a:pt x="1465" y="66"/>
                  <a:pt x="1465" y="79"/>
                </a:cubicBezTo>
                <a:close/>
                <a:moveTo>
                  <a:pt x="1697" y="37"/>
                </a:moveTo>
                <a:cubicBezTo>
                  <a:pt x="1675" y="37"/>
                  <a:pt x="1675" y="37"/>
                  <a:pt x="1675" y="37"/>
                </a:cubicBezTo>
                <a:cubicBezTo>
                  <a:pt x="1675" y="33"/>
                  <a:pt x="1675" y="33"/>
                  <a:pt x="1675" y="33"/>
                </a:cubicBezTo>
                <a:cubicBezTo>
                  <a:pt x="1675" y="26"/>
                  <a:pt x="1678" y="23"/>
                  <a:pt x="1684" y="23"/>
                </a:cubicBezTo>
                <a:cubicBezTo>
                  <a:pt x="1689" y="23"/>
                  <a:pt x="1693" y="24"/>
                  <a:pt x="1697" y="25"/>
                </a:cubicBezTo>
                <a:cubicBezTo>
                  <a:pt x="1697" y="2"/>
                  <a:pt x="1697" y="2"/>
                  <a:pt x="1697" y="2"/>
                </a:cubicBezTo>
                <a:cubicBezTo>
                  <a:pt x="1692" y="1"/>
                  <a:pt x="1686" y="0"/>
                  <a:pt x="1677" y="0"/>
                </a:cubicBezTo>
                <a:cubicBezTo>
                  <a:pt x="1668" y="0"/>
                  <a:pt x="1660" y="2"/>
                  <a:pt x="1655" y="7"/>
                </a:cubicBezTo>
                <a:cubicBezTo>
                  <a:pt x="1650" y="12"/>
                  <a:pt x="1648" y="20"/>
                  <a:pt x="1648" y="31"/>
                </a:cubicBezTo>
                <a:cubicBezTo>
                  <a:pt x="1648" y="37"/>
                  <a:pt x="1648" y="37"/>
                  <a:pt x="1648" y="37"/>
                </a:cubicBezTo>
                <a:cubicBezTo>
                  <a:pt x="1636" y="37"/>
                  <a:pt x="1636" y="37"/>
                  <a:pt x="1636" y="37"/>
                </a:cubicBezTo>
                <a:cubicBezTo>
                  <a:pt x="1636" y="59"/>
                  <a:pt x="1636" y="59"/>
                  <a:pt x="1636" y="59"/>
                </a:cubicBezTo>
                <a:cubicBezTo>
                  <a:pt x="1648" y="59"/>
                  <a:pt x="1648" y="59"/>
                  <a:pt x="1648" y="59"/>
                </a:cubicBezTo>
                <a:cubicBezTo>
                  <a:pt x="1648" y="132"/>
                  <a:pt x="1648" y="132"/>
                  <a:pt x="1648" y="132"/>
                </a:cubicBezTo>
                <a:cubicBezTo>
                  <a:pt x="1675" y="132"/>
                  <a:pt x="1675" y="132"/>
                  <a:pt x="1675" y="132"/>
                </a:cubicBezTo>
                <a:cubicBezTo>
                  <a:pt x="1675" y="59"/>
                  <a:pt x="1675" y="59"/>
                  <a:pt x="1675" y="59"/>
                </a:cubicBezTo>
                <a:cubicBezTo>
                  <a:pt x="1697" y="59"/>
                  <a:pt x="1697" y="59"/>
                  <a:pt x="1697" y="59"/>
                </a:cubicBezTo>
                <a:lnTo>
                  <a:pt x="1697" y="37"/>
                </a:lnTo>
                <a:close/>
                <a:moveTo>
                  <a:pt x="1548" y="101"/>
                </a:moveTo>
                <a:cubicBezTo>
                  <a:pt x="1526" y="36"/>
                  <a:pt x="1526" y="36"/>
                  <a:pt x="1526" y="36"/>
                </a:cubicBezTo>
                <a:cubicBezTo>
                  <a:pt x="1497" y="36"/>
                  <a:pt x="1497" y="36"/>
                  <a:pt x="1497" y="36"/>
                </a:cubicBezTo>
                <a:cubicBezTo>
                  <a:pt x="1535" y="132"/>
                  <a:pt x="1535" y="132"/>
                  <a:pt x="1535" y="132"/>
                </a:cubicBezTo>
                <a:cubicBezTo>
                  <a:pt x="1532" y="137"/>
                  <a:pt x="1530" y="139"/>
                  <a:pt x="1525" y="139"/>
                </a:cubicBezTo>
                <a:cubicBezTo>
                  <a:pt x="1521" y="139"/>
                  <a:pt x="1517" y="137"/>
                  <a:pt x="1513" y="135"/>
                </a:cubicBezTo>
                <a:cubicBezTo>
                  <a:pt x="1504" y="155"/>
                  <a:pt x="1504" y="155"/>
                  <a:pt x="1504" y="155"/>
                </a:cubicBezTo>
                <a:cubicBezTo>
                  <a:pt x="1511" y="159"/>
                  <a:pt x="1519" y="161"/>
                  <a:pt x="1528" y="161"/>
                </a:cubicBezTo>
                <a:cubicBezTo>
                  <a:pt x="1545" y="161"/>
                  <a:pt x="1553" y="154"/>
                  <a:pt x="1560" y="134"/>
                </a:cubicBezTo>
                <a:cubicBezTo>
                  <a:pt x="1597" y="36"/>
                  <a:pt x="1597" y="36"/>
                  <a:pt x="1597" y="36"/>
                </a:cubicBezTo>
                <a:cubicBezTo>
                  <a:pt x="1569" y="36"/>
                  <a:pt x="1569" y="36"/>
                  <a:pt x="1569" y="36"/>
                </a:cubicBezTo>
                <a:lnTo>
                  <a:pt x="1548" y="101"/>
                </a:lnTo>
                <a:close/>
                <a:moveTo>
                  <a:pt x="1008" y="34"/>
                </a:moveTo>
                <a:cubicBezTo>
                  <a:pt x="994" y="34"/>
                  <a:pt x="986" y="41"/>
                  <a:pt x="980" y="49"/>
                </a:cubicBezTo>
                <a:cubicBezTo>
                  <a:pt x="980" y="1"/>
                  <a:pt x="980" y="1"/>
                  <a:pt x="980" y="1"/>
                </a:cubicBezTo>
                <a:cubicBezTo>
                  <a:pt x="952" y="1"/>
                  <a:pt x="952" y="1"/>
                  <a:pt x="952" y="1"/>
                </a:cubicBezTo>
                <a:cubicBezTo>
                  <a:pt x="952" y="132"/>
                  <a:pt x="952" y="132"/>
                  <a:pt x="952" y="132"/>
                </a:cubicBezTo>
                <a:cubicBezTo>
                  <a:pt x="980" y="132"/>
                  <a:pt x="980" y="132"/>
                  <a:pt x="980" y="132"/>
                </a:cubicBezTo>
                <a:cubicBezTo>
                  <a:pt x="980" y="78"/>
                  <a:pt x="980" y="78"/>
                  <a:pt x="980" y="78"/>
                </a:cubicBezTo>
                <a:cubicBezTo>
                  <a:pt x="980" y="65"/>
                  <a:pt x="986" y="59"/>
                  <a:pt x="997" y="59"/>
                </a:cubicBezTo>
                <a:cubicBezTo>
                  <a:pt x="1007" y="59"/>
                  <a:pt x="1013" y="65"/>
                  <a:pt x="1013" y="78"/>
                </a:cubicBezTo>
                <a:cubicBezTo>
                  <a:pt x="1013" y="132"/>
                  <a:pt x="1013" y="132"/>
                  <a:pt x="1013" y="132"/>
                </a:cubicBezTo>
                <a:cubicBezTo>
                  <a:pt x="1040" y="132"/>
                  <a:pt x="1040" y="132"/>
                  <a:pt x="1040" y="132"/>
                </a:cubicBezTo>
                <a:cubicBezTo>
                  <a:pt x="1040" y="70"/>
                  <a:pt x="1040" y="70"/>
                  <a:pt x="1040" y="70"/>
                </a:cubicBezTo>
                <a:cubicBezTo>
                  <a:pt x="1040" y="48"/>
                  <a:pt x="1028" y="34"/>
                  <a:pt x="1008" y="34"/>
                </a:cubicBezTo>
                <a:close/>
                <a:moveTo>
                  <a:pt x="1250" y="132"/>
                </a:moveTo>
                <a:cubicBezTo>
                  <a:pt x="1278" y="132"/>
                  <a:pt x="1278" y="132"/>
                  <a:pt x="1278" y="132"/>
                </a:cubicBezTo>
                <a:cubicBezTo>
                  <a:pt x="1278" y="1"/>
                  <a:pt x="1278" y="1"/>
                  <a:pt x="1278" y="1"/>
                </a:cubicBezTo>
                <a:cubicBezTo>
                  <a:pt x="1250" y="1"/>
                  <a:pt x="1250" y="1"/>
                  <a:pt x="1250" y="1"/>
                </a:cubicBezTo>
                <a:lnTo>
                  <a:pt x="1250" y="132"/>
                </a:lnTo>
                <a:close/>
                <a:moveTo>
                  <a:pt x="1103" y="34"/>
                </a:moveTo>
                <a:cubicBezTo>
                  <a:pt x="1089" y="34"/>
                  <a:pt x="1081" y="41"/>
                  <a:pt x="1075" y="49"/>
                </a:cubicBezTo>
                <a:cubicBezTo>
                  <a:pt x="1075" y="36"/>
                  <a:pt x="1075" y="36"/>
                  <a:pt x="1075" y="36"/>
                </a:cubicBezTo>
                <a:cubicBezTo>
                  <a:pt x="1047" y="36"/>
                  <a:pt x="1047" y="36"/>
                  <a:pt x="1047" y="36"/>
                </a:cubicBezTo>
                <a:cubicBezTo>
                  <a:pt x="1047" y="132"/>
                  <a:pt x="1047" y="132"/>
                  <a:pt x="1047" y="132"/>
                </a:cubicBezTo>
                <a:cubicBezTo>
                  <a:pt x="1075" y="132"/>
                  <a:pt x="1075" y="132"/>
                  <a:pt x="1075" y="132"/>
                </a:cubicBezTo>
                <a:cubicBezTo>
                  <a:pt x="1075" y="78"/>
                  <a:pt x="1075" y="78"/>
                  <a:pt x="1075" y="78"/>
                </a:cubicBezTo>
                <a:cubicBezTo>
                  <a:pt x="1075" y="65"/>
                  <a:pt x="1081" y="59"/>
                  <a:pt x="1092" y="59"/>
                </a:cubicBezTo>
                <a:cubicBezTo>
                  <a:pt x="1102" y="59"/>
                  <a:pt x="1108" y="65"/>
                  <a:pt x="1108" y="78"/>
                </a:cubicBezTo>
                <a:cubicBezTo>
                  <a:pt x="1108" y="132"/>
                  <a:pt x="1108" y="132"/>
                  <a:pt x="1108" y="132"/>
                </a:cubicBezTo>
                <a:cubicBezTo>
                  <a:pt x="1135" y="132"/>
                  <a:pt x="1135" y="132"/>
                  <a:pt x="1135" y="132"/>
                </a:cubicBezTo>
                <a:cubicBezTo>
                  <a:pt x="1135" y="70"/>
                  <a:pt x="1135" y="70"/>
                  <a:pt x="1135" y="70"/>
                </a:cubicBezTo>
                <a:cubicBezTo>
                  <a:pt x="1135" y="48"/>
                  <a:pt x="1123" y="34"/>
                  <a:pt x="1103" y="34"/>
                </a:cubicBezTo>
                <a:close/>
                <a:moveTo>
                  <a:pt x="910" y="111"/>
                </a:moveTo>
                <a:cubicBezTo>
                  <a:pt x="895" y="111"/>
                  <a:pt x="885" y="99"/>
                  <a:pt x="885" y="84"/>
                </a:cubicBezTo>
                <a:cubicBezTo>
                  <a:pt x="885" y="84"/>
                  <a:pt x="885" y="84"/>
                  <a:pt x="885" y="84"/>
                </a:cubicBezTo>
                <a:cubicBezTo>
                  <a:pt x="885" y="70"/>
                  <a:pt x="895" y="58"/>
                  <a:pt x="909" y="58"/>
                </a:cubicBezTo>
                <a:cubicBezTo>
                  <a:pt x="918" y="58"/>
                  <a:pt x="925" y="62"/>
                  <a:pt x="931" y="68"/>
                </a:cubicBezTo>
                <a:cubicBezTo>
                  <a:pt x="947" y="50"/>
                  <a:pt x="947" y="50"/>
                  <a:pt x="947" y="50"/>
                </a:cubicBezTo>
                <a:cubicBezTo>
                  <a:pt x="938" y="40"/>
                  <a:pt x="927" y="34"/>
                  <a:pt x="909" y="34"/>
                </a:cubicBezTo>
                <a:cubicBezTo>
                  <a:pt x="880" y="34"/>
                  <a:pt x="859" y="57"/>
                  <a:pt x="859" y="84"/>
                </a:cubicBezTo>
                <a:cubicBezTo>
                  <a:pt x="859" y="84"/>
                  <a:pt x="859" y="84"/>
                  <a:pt x="859" y="84"/>
                </a:cubicBezTo>
                <a:cubicBezTo>
                  <a:pt x="859" y="112"/>
                  <a:pt x="880" y="134"/>
                  <a:pt x="909" y="134"/>
                </a:cubicBezTo>
                <a:cubicBezTo>
                  <a:pt x="928" y="134"/>
                  <a:pt x="939" y="127"/>
                  <a:pt x="948" y="117"/>
                </a:cubicBezTo>
                <a:cubicBezTo>
                  <a:pt x="932" y="100"/>
                  <a:pt x="932" y="100"/>
                  <a:pt x="932" y="100"/>
                </a:cubicBezTo>
                <a:cubicBezTo>
                  <a:pt x="925" y="107"/>
                  <a:pt x="919" y="111"/>
                  <a:pt x="910" y="111"/>
                </a:cubicBezTo>
                <a:close/>
                <a:moveTo>
                  <a:pt x="1945" y="35"/>
                </a:moveTo>
                <a:cubicBezTo>
                  <a:pt x="1929" y="35"/>
                  <a:pt x="1918" y="38"/>
                  <a:pt x="1908" y="42"/>
                </a:cubicBezTo>
                <a:cubicBezTo>
                  <a:pt x="1915" y="63"/>
                  <a:pt x="1915" y="63"/>
                  <a:pt x="1915" y="63"/>
                </a:cubicBezTo>
                <a:cubicBezTo>
                  <a:pt x="1923" y="60"/>
                  <a:pt x="1931" y="58"/>
                  <a:pt x="1941" y="58"/>
                </a:cubicBezTo>
                <a:cubicBezTo>
                  <a:pt x="1955" y="58"/>
                  <a:pt x="1962" y="64"/>
                  <a:pt x="1962" y="76"/>
                </a:cubicBezTo>
                <a:cubicBezTo>
                  <a:pt x="1962" y="77"/>
                  <a:pt x="1962" y="77"/>
                  <a:pt x="1962" y="77"/>
                </a:cubicBezTo>
                <a:cubicBezTo>
                  <a:pt x="1955" y="75"/>
                  <a:pt x="1948" y="73"/>
                  <a:pt x="1938" y="73"/>
                </a:cubicBezTo>
                <a:cubicBezTo>
                  <a:pt x="1915" y="73"/>
                  <a:pt x="1899" y="83"/>
                  <a:pt x="1899" y="104"/>
                </a:cubicBezTo>
                <a:cubicBezTo>
                  <a:pt x="1899" y="104"/>
                  <a:pt x="1899" y="104"/>
                  <a:pt x="1899" y="104"/>
                </a:cubicBezTo>
                <a:cubicBezTo>
                  <a:pt x="1899" y="123"/>
                  <a:pt x="1914" y="134"/>
                  <a:pt x="1932" y="134"/>
                </a:cubicBezTo>
                <a:cubicBezTo>
                  <a:pt x="1946" y="134"/>
                  <a:pt x="1955" y="129"/>
                  <a:pt x="1962" y="122"/>
                </a:cubicBezTo>
                <a:cubicBezTo>
                  <a:pt x="1962" y="132"/>
                  <a:pt x="1962" y="132"/>
                  <a:pt x="1962" y="132"/>
                </a:cubicBezTo>
                <a:cubicBezTo>
                  <a:pt x="1988" y="132"/>
                  <a:pt x="1988" y="132"/>
                  <a:pt x="1988" y="132"/>
                </a:cubicBezTo>
                <a:cubicBezTo>
                  <a:pt x="1988" y="76"/>
                  <a:pt x="1988" y="76"/>
                  <a:pt x="1988" y="76"/>
                </a:cubicBezTo>
                <a:cubicBezTo>
                  <a:pt x="1988" y="63"/>
                  <a:pt x="1985" y="53"/>
                  <a:pt x="1978" y="46"/>
                </a:cubicBezTo>
                <a:cubicBezTo>
                  <a:pt x="1971" y="39"/>
                  <a:pt x="1960" y="35"/>
                  <a:pt x="1945" y="35"/>
                </a:cubicBezTo>
                <a:close/>
                <a:moveTo>
                  <a:pt x="1962" y="98"/>
                </a:moveTo>
                <a:cubicBezTo>
                  <a:pt x="1962" y="108"/>
                  <a:pt x="1953" y="115"/>
                  <a:pt x="1941" y="115"/>
                </a:cubicBezTo>
                <a:cubicBezTo>
                  <a:pt x="1932" y="115"/>
                  <a:pt x="1926" y="111"/>
                  <a:pt x="1926" y="103"/>
                </a:cubicBezTo>
                <a:cubicBezTo>
                  <a:pt x="1926" y="103"/>
                  <a:pt x="1926" y="103"/>
                  <a:pt x="1926" y="103"/>
                </a:cubicBezTo>
                <a:cubicBezTo>
                  <a:pt x="1926" y="94"/>
                  <a:pt x="1933" y="90"/>
                  <a:pt x="1945" y="90"/>
                </a:cubicBezTo>
                <a:cubicBezTo>
                  <a:pt x="1951" y="90"/>
                  <a:pt x="1957" y="91"/>
                  <a:pt x="1962" y="93"/>
                </a:cubicBezTo>
                <a:lnTo>
                  <a:pt x="1962" y="98"/>
                </a:lnTo>
                <a:close/>
                <a:moveTo>
                  <a:pt x="1193" y="34"/>
                </a:moveTo>
                <a:cubicBezTo>
                  <a:pt x="1163" y="34"/>
                  <a:pt x="1141" y="56"/>
                  <a:pt x="1141" y="84"/>
                </a:cubicBezTo>
                <a:cubicBezTo>
                  <a:pt x="1141" y="84"/>
                  <a:pt x="1141" y="84"/>
                  <a:pt x="1141" y="84"/>
                </a:cubicBezTo>
                <a:cubicBezTo>
                  <a:pt x="1141" y="112"/>
                  <a:pt x="1163" y="134"/>
                  <a:pt x="1193" y="134"/>
                </a:cubicBezTo>
                <a:cubicBezTo>
                  <a:pt x="1223" y="134"/>
                  <a:pt x="1245" y="112"/>
                  <a:pt x="1245" y="84"/>
                </a:cubicBezTo>
                <a:cubicBezTo>
                  <a:pt x="1245" y="84"/>
                  <a:pt x="1245" y="84"/>
                  <a:pt x="1245" y="84"/>
                </a:cubicBezTo>
                <a:cubicBezTo>
                  <a:pt x="1245" y="56"/>
                  <a:pt x="1223" y="34"/>
                  <a:pt x="1193" y="34"/>
                </a:cubicBezTo>
                <a:close/>
                <a:moveTo>
                  <a:pt x="1218" y="84"/>
                </a:moveTo>
                <a:cubicBezTo>
                  <a:pt x="1218" y="99"/>
                  <a:pt x="1209" y="111"/>
                  <a:pt x="1193" y="111"/>
                </a:cubicBezTo>
                <a:cubicBezTo>
                  <a:pt x="1178" y="111"/>
                  <a:pt x="1168" y="98"/>
                  <a:pt x="1168" y="84"/>
                </a:cubicBezTo>
                <a:cubicBezTo>
                  <a:pt x="1168" y="84"/>
                  <a:pt x="1168" y="84"/>
                  <a:pt x="1168" y="84"/>
                </a:cubicBezTo>
                <a:cubicBezTo>
                  <a:pt x="1168" y="70"/>
                  <a:pt x="1177" y="58"/>
                  <a:pt x="1193" y="58"/>
                </a:cubicBezTo>
                <a:cubicBezTo>
                  <a:pt x="1208" y="58"/>
                  <a:pt x="1218" y="70"/>
                  <a:pt x="1218"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942790275"/>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_Black">
    <p:spTree>
      <p:nvGrpSpPr>
        <p:cNvPr id="1" name=""/>
        <p:cNvGrpSpPr/>
        <p:nvPr/>
      </p:nvGrpSpPr>
      <p:grpSpPr>
        <a:xfrm>
          <a:off x="0" y="0"/>
          <a:ext cx="0" cy="0"/>
          <a:chOff x="0" y="0"/>
          <a:chExt cx="0" cy="0"/>
        </a:xfrm>
      </p:grpSpPr>
      <p:sp>
        <p:nvSpPr>
          <p:cNvPr id="56" name="Title 16"/>
          <p:cNvSpPr>
            <a:spLocks noGrp="1"/>
          </p:cNvSpPr>
          <p:nvPr userDrawn="1">
            <p:ph type="title" hasCustomPrompt="1"/>
          </p:nvPr>
        </p:nvSpPr>
        <p:spPr bwMode="gray">
          <a:xfrm>
            <a:off x="750529" y="1527660"/>
            <a:ext cx="9914678" cy="3269709"/>
          </a:xfrm>
          <a:prstGeom prst="rect">
            <a:avLst/>
          </a:prstGeom>
        </p:spPr>
        <p:txBody>
          <a:bodyPr wrap="square"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bg1"/>
                </a:solidFill>
                <a:latin typeface="Arial" pitchFamily="34" charset="0"/>
                <a:ea typeface="+mn-ea"/>
                <a:cs typeface="Arial" pitchFamily="34" charset="0"/>
              </a:defRPr>
            </a:lvl1pPr>
          </a:lstStyle>
          <a:p>
            <a:r>
              <a:rPr lang="en-US"/>
              <a:t>Presentation</a:t>
            </a:r>
            <a:br>
              <a:rPr lang="en-US"/>
            </a:br>
            <a:r>
              <a:rPr lang="en-US"/>
              <a:t>title here</a:t>
            </a:r>
          </a:p>
        </p:txBody>
      </p:sp>
      <p:sp>
        <p:nvSpPr>
          <p:cNvPr id="55" name="Subtitle 2"/>
          <p:cNvSpPr>
            <a:spLocks noGrp="1"/>
          </p:cNvSpPr>
          <p:nvPr userDrawn="1">
            <p:ph type="subTitle" idx="1" hasCustomPrompt="1"/>
          </p:nvPr>
        </p:nvSpPr>
        <p:spPr bwMode="gray">
          <a:xfrm>
            <a:off x="760612" y="5046115"/>
            <a:ext cx="9914678" cy="356616"/>
          </a:xfrm>
          <a:prstGeom prst="rect">
            <a:avLst/>
          </a:prstGeom>
        </p:spPr>
        <p:txBody>
          <a:bodyPr lIns="0" tIns="0" rIns="0" bIns="0" anchor="t" anchorCtr="0">
            <a:noAutofit/>
          </a:bodyPr>
          <a:lstStyle>
            <a:lvl1pPr marL="0" indent="0" algn="l" defTabSz="1218987" rtl="0" eaLnBrk="1" latinLnBrk="0" hangingPunct="1">
              <a:lnSpc>
                <a:spcPct val="90000"/>
              </a:lnSpc>
              <a:spcBef>
                <a:spcPct val="0"/>
              </a:spcBef>
              <a:buNone/>
              <a:defRPr lang="en-US" sz="2600" b="0" kern="1200" cap="none" spc="0" baseline="0" dirty="0">
                <a:solidFill>
                  <a:schemeClr val="bg1"/>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Speaker Name | Date</a:t>
            </a:r>
          </a:p>
        </p:txBody>
      </p:sp>
      <p:grpSp>
        <p:nvGrpSpPr>
          <p:cNvPr id="14" name="Group 13">
            <a:extLst>
              <a:ext uri="{FF2B5EF4-FFF2-40B4-BE49-F238E27FC236}">
                <a16:creationId xmlns:a16="http://schemas.microsoft.com/office/drawing/2014/main" id="{DB6BD304-FAC7-4023-9B54-8984F7387559}"/>
              </a:ext>
            </a:extLst>
          </p:cNvPr>
          <p:cNvGrpSpPr>
            <a:grpSpLocks noChangeAspect="1"/>
          </p:cNvGrpSpPr>
          <p:nvPr userDrawn="1"/>
        </p:nvGrpSpPr>
        <p:grpSpPr>
          <a:xfrm rot="16200000">
            <a:off x="10152631" y="2542790"/>
            <a:ext cx="3058160" cy="1020580"/>
            <a:chOff x="547688" y="952500"/>
            <a:chExt cx="12190413" cy="4067175"/>
          </a:xfrm>
        </p:grpSpPr>
        <p:sp>
          <p:nvSpPr>
            <p:cNvPr id="15" name="Rectangle 14">
              <a:extLst>
                <a:ext uri="{FF2B5EF4-FFF2-40B4-BE49-F238E27FC236}">
                  <a16:creationId xmlns:a16="http://schemas.microsoft.com/office/drawing/2014/main" id="{1FBBDE3D-E4E2-42E5-9F26-00C1500EFD63}"/>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7">
              <a:extLst>
                <a:ext uri="{FF2B5EF4-FFF2-40B4-BE49-F238E27FC236}">
                  <a16:creationId xmlns:a16="http://schemas.microsoft.com/office/drawing/2014/main" id="{27C222CE-31C9-4AE2-A9DE-A34ECC37F011}"/>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8">
              <a:extLst>
                <a:ext uri="{FF2B5EF4-FFF2-40B4-BE49-F238E27FC236}">
                  <a16:creationId xmlns:a16="http://schemas.microsoft.com/office/drawing/2014/main" id="{710DBB3B-7FB8-4ACB-8FA4-3F2A105B9B99}"/>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9">
              <a:extLst>
                <a:ext uri="{FF2B5EF4-FFF2-40B4-BE49-F238E27FC236}">
                  <a16:creationId xmlns:a16="http://schemas.microsoft.com/office/drawing/2014/main" id="{3E443DA7-CC51-4460-98C4-193A7375074F}"/>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0">
              <a:extLst>
                <a:ext uri="{FF2B5EF4-FFF2-40B4-BE49-F238E27FC236}">
                  <a16:creationId xmlns:a16="http://schemas.microsoft.com/office/drawing/2014/main" id="{E1BCDB13-2B5A-46EC-B1D6-C526DEAA84B4}"/>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0">
              <a:extLst>
                <a:ext uri="{FF2B5EF4-FFF2-40B4-BE49-F238E27FC236}">
                  <a16:creationId xmlns:a16="http://schemas.microsoft.com/office/drawing/2014/main" id="{8EDDE8EA-BE8E-4066-AB4A-21CD2743549A}"/>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1">
              <a:extLst>
                <a:ext uri="{FF2B5EF4-FFF2-40B4-BE49-F238E27FC236}">
                  <a16:creationId xmlns:a16="http://schemas.microsoft.com/office/drawing/2014/main" id="{EF442D16-F34F-4D4E-A65A-8C3BC17F2FCE}"/>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2" name="Freeform 5">
            <a:extLst>
              <a:ext uri="{FF2B5EF4-FFF2-40B4-BE49-F238E27FC236}">
                <a16:creationId xmlns:a16="http://schemas.microsoft.com/office/drawing/2014/main" id="{B3FDD5DD-E6F7-480C-BC0C-F6AC555BF174}"/>
              </a:ext>
            </a:extLst>
          </p:cNvPr>
          <p:cNvSpPr>
            <a:spLocks noChangeAspect="1" noEditPoints="1"/>
          </p:cNvSpPr>
          <p:nvPr userDrawn="1"/>
        </p:nvSpPr>
        <p:spPr bwMode="auto">
          <a:xfrm>
            <a:off x="750529" y="762000"/>
            <a:ext cx="3942091" cy="312470"/>
          </a:xfrm>
          <a:custGeom>
            <a:avLst/>
            <a:gdLst>
              <a:gd name="T0" fmla="*/ 557 w 2065"/>
              <a:gd name="T1" fmla="*/ 102 h 161"/>
              <a:gd name="T2" fmla="*/ 510 w 2065"/>
              <a:gd name="T3" fmla="*/ 76 h 161"/>
              <a:gd name="T4" fmla="*/ 583 w 2065"/>
              <a:gd name="T5" fmla="*/ 36 h 161"/>
              <a:gd name="T6" fmla="*/ 641 w 2065"/>
              <a:gd name="T7" fmla="*/ 34 h 161"/>
              <a:gd name="T8" fmla="*/ 2038 w 2065"/>
              <a:gd name="T9" fmla="*/ 1 h 161"/>
              <a:gd name="T10" fmla="*/ 706 w 2065"/>
              <a:gd name="T11" fmla="*/ 59 h 161"/>
              <a:gd name="T12" fmla="*/ 733 w 2065"/>
              <a:gd name="T13" fmla="*/ 100 h 161"/>
              <a:gd name="T14" fmla="*/ 1999 w 2065"/>
              <a:gd name="T15" fmla="*/ 132 h 161"/>
              <a:gd name="T16" fmla="*/ 760 w 2065"/>
              <a:gd name="T17" fmla="*/ 84 h 161"/>
              <a:gd name="T18" fmla="*/ 787 w 2065"/>
              <a:gd name="T19" fmla="*/ 93 h 161"/>
              <a:gd name="T20" fmla="*/ 828 w 2065"/>
              <a:gd name="T21" fmla="*/ 76 h 161"/>
              <a:gd name="T22" fmla="*/ 133 w 2065"/>
              <a:gd name="T23" fmla="*/ 36 h 161"/>
              <a:gd name="T24" fmla="*/ 166 w 2065"/>
              <a:gd name="T25" fmla="*/ 78 h 161"/>
              <a:gd name="T26" fmla="*/ 225 w 2065"/>
              <a:gd name="T27" fmla="*/ 132 h 161"/>
              <a:gd name="T28" fmla="*/ 32 w 2065"/>
              <a:gd name="T29" fmla="*/ 40 h 161"/>
              <a:gd name="T30" fmla="*/ 5 w 2065"/>
              <a:gd name="T31" fmla="*/ 43 h 161"/>
              <a:gd name="T32" fmla="*/ 0 w 2065"/>
              <a:gd name="T33" fmla="*/ 114 h 161"/>
              <a:gd name="T34" fmla="*/ 266 w 2065"/>
              <a:gd name="T35" fmla="*/ 43 h 161"/>
              <a:gd name="T36" fmla="*/ 258 w 2065"/>
              <a:gd name="T37" fmla="*/ 104 h 161"/>
              <a:gd name="T38" fmla="*/ 347 w 2065"/>
              <a:gd name="T39" fmla="*/ 76 h 161"/>
              <a:gd name="T40" fmla="*/ 285 w 2065"/>
              <a:gd name="T41" fmla="*/ 103 h 161"/>
              <a:gd name="T42" fmla="*/ 429 w 2065"/>
              <a:gd name="T43" fmla="*/ 36 h 161"/>
              <a:gd name="T44" fmla="*/ 479 w 2065"/>
              <a:gd name="T45" fmla="*/ 128 h 161"/>
              <a:gd name="T46" fmla="*/ 479 w 2065"/>
              <a:gd name="T47" fmla="*/ 36 h 161"/>
              <a:gd name="T48" fmla="*/ 354 w 2065"/>
              <a:gd name="T49" fmla="*/ 132 h 161"/>
              <a:gd name="T50" fmla="*/ 382 w 2065"/>
              <a:gd name="T51" fmla="*/ 55 h 161"/>
              <a:gd name="T52" fmla="*/ 1387 w 2065"/>
              <a:gd name="T53" fmla="*/ 84 h 161"/>
              <a:gd name="T54" fmla="*/ 1335 w 2065"/>
              <a:gd name="T55" fmla="*/ 58 h 161"/>
              <a:gd name="T56" fmla="*/ 1834 w 2065"/>
              <a:gd name="T57" fmla="*/ 132 h 161"/>
              <a:gd name="T58" fmla="*/ 1748 w 2065"/>
              <a:gd name="T59" fmla="*/ 34 h 161"/>
              <a:gd name="T60" fmla="*/ 1748 w 2065"/>
              <a:gd name="T61" fmla="*/ 34 h 161"/>
              <a:gd name="T62" fmla="*/ 1773 w 2065"/>
              <a:gd name="T63" fmla="*/ 84 h 161"/>
              <a:gd name="T64" fmla="*/ 1465 w 2065"/>
              <a:gd name="T65" fmla="*/ 109 h 161"/>
              <a:gd name="T66" fmla="*/ 1480 w 2065"/>
              <a:gd name="T67" fmla="*/ 148 h 161"/>
              <a:gd name="T68" fmla="*/ 1442 w 2065"/>
              <a:gd name="T69" fmla="*/ 102 h 161"/>
              <a:gd name="T70" fmla="*/ 1675 w 2065"/>
              <a:gd name="T71" fmla="*/ 37 h 161"/>
              <a:gd name="T72" fmla="*/ 1655 w 2065"/>
              <a:gd name="T73" fmla="*/ 7 h 161"/>
              <a:gd name="T74" fmla="*/ 1648 w 2065"/>
              <a:gd name="T75" fmla="*/ 132 h 161"/>
              <a:gd name="T76" fmla="*/ 1526 w 2065"/>
              <a:gd name="T77" fmla="*/ 36 h 161"/>
              <a:gd name="T78" fmla="*/ 1528 w 2065"/>
              <a:gd name="T79" fmla="*/ 161 h 161"/>
              <a:gd name="T80" fmla="*/ 980 w 2065"/>
              <a:gd name="T81" fmla="*/ 49 h 161"/>
              <a:gd name="T82" fmla="*/ 997 w 2065"/>
              <a:gd name="T83" fmla="*/ 59 h 161"/>
              <a:gd name="T84" fmla="*/ 1250 w 2065"/>
              <a:gd name="T85" fmla="*/ 132 h 161"/>
              <a:gd name="T86" fmla="*/ 1075 w 2065"/>
              <a:gd name="T87" fmla="*/ 49 h 161"/>
              <a:gd name="T88" fmla="*/ 1092 w 2065"/>
              <a:gd name="T89" fmla="*/ 59 h 161"/>
              <a:gd name="T90" fmla="*/ 910 w 2065"/>
              <a:gd name="T91" fmla="*/ 111 h 161"/>
              <a:gd name="T92" fmla="*/ 909 w 2065"/>
              <a:gd name="T93" fmla="*/ 34 h 161"/>
              <a:gd name="T94" fmla="*/ 910 w 2065"/>
              <a:gd name="T95" fmla="*/ 111 h 161"/>
              <a:gd name="T96" fmla="*/ 1962 w 2065"/>
              <a:gd name="T97" fmla="*/ 77 h 161"/>
              <a:gd name="T98" fmla="*/ 1962 w 2065"/>
              <a:gd name="T99" fmla="*/ 132 h 161"/>
              <a:gd name="T100" fmla="*/ 1941 w 2065"/>
              <a:gd name="T101" fmla="*/ 115 h 161"/>
              <a:gd name="T102" fmla="*/ 1193 w 2065"/>
              <a:gd name="T103" fmla="*/ 34 h 161"/>
              <a:gd name="T104" fmla="*/ 1193 w 2065"/>
              <a:gd name="T105" fmla="*/ 34 h 161"/>
              <a:gd name="T106" fmla="*/ 1218 w 2065"/>
              <a:gd name="T107"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5" h="161">
                <a:moveTo>
                  <a:pt x="530" y="34"/>
                </a:moveTo>
                <a:cubicBezTo>
                  <a:pt x="502" y="34"/>
                  <a:pt x="483" y="57"/>
                  <a:pt x="483" y="84"/>
                </a:cubicBezTo>
                <a:cubicBezTo>
                  <a:pt x="483" y="84"/>
                  <a:pt x="483" y="84"/>
                  <a:pt x="483" y="84"/>
                </a:cubicBezTo>
                <a:cubicBezTo>
                  <a:pt x="483" y="114"/>
                  <a:pt x="504" y="134"/>
                  <a:pt x="533" y="134"/>
                </a:cubicBezTo>
                <a:cubicBezTo>
                  <a:pt x="551" y="134"/>
                  <a:pt x="563" y="127"/>
                  <a:pt x="572" y="116"/>
                </a:cubicBezTo>
                <a:cubicBezTo>
                  <a:pt x="557" y="102"/>
                  <a:pt x="557" y="102"/>
                  <a:pt x="557" y="102"/>
                </a:cubicBezTo>
                <a:cubicBezTo>
                  <a:pt x="549" y="109"/>
                  <a:pt x="543" y="112"/>
                  <a:pt x="533" y="112"/>
                </a:cubicBezTo>
                <a:cubicBezTo>
                  <a:pt x="521" y="112"/>
                  <a:pt x="513" y="106"/>
                  <a:pt x="510" y="93"/>
                </a:cubicBezTo>
                <a:cubicBezTo>
                  <a:pt x="577" y="93"/>
                  <a:pt x="577" y="93"/>
                  <a:pt x="577" y="93"/>
                </a:cubicBezTo>
                <a:cubicBezTo>
                  <a:pt x="577" y="91"/>
                  <a:pt x="577" y="88"/>
                  <a:pt x="577" y="86"/>
                </a:cubicBezTo>
                <a:cubicBezTo>
                  <a:pt x="577" y="59"/>
                  <a:pt x="563" y="34"/>
                  <a:pt x="530" y="34"/>
                </a:cubicBezTo>
                <a:close/>
                <a:moveTo>
                  <a:pt x="510" y="76"/>
                </a:moveTo>
                <a:cubicBezTo>
                  <a:pt x="512" y="64"/>
                  <a:pt x="519" y="56"/>
                  <a:pt x="530" y="56"/>
                </a:cubicBezTo>
                <a:cubicBezTo>
                  <a:pt x="542" y="56"/>
                  <a:pt x="549" y="64"/>
                  <a:pt x="551" y="76"/>
                </a:cubicBezTo>
                <a:lnTo>
                  <a:pt x="510" y="76"/>
                </a:lnTo>
                <a:close/>
                <a:moveTo>
                  <a:pt x="610" y="55"/>
                </a:moveTo>
                <a:cubicBezTo>
                  <a:pt x="610" y="36"/>
                  <a:pt x="610" y="36"/>
                  <a:pt x="610" y="36"/>
                </a:cubicBezTo>
                <a:cubicBezTo>
                  <a:pt x="583" y="36"/>
                  <a:pt x="583" y="36"/>
                  <a:pt x="583" y="36"/>
                </a:cubicBezTo>
                <a:cubicBezTo>
                  <a:pt x="583" y="132"/>
                  <a:pt x="583" y="132"/>
                  <a:pt x="583" y="132"/>
                </a:cubicBezTo>
                <a:cubicBezTo>
                  <a:pt x="610" y="132"/>
                  <a:pt x="610" y="132"/>
                  <a:pt x="610" y="132"/>
                </a:cubicBezTo>
                <a:cubicBezTo>
                  <a:pt x="610" y="97"/>
                  <a:pt x="610" y="97"/>
                  <a:pt x="610" y="97"/>
                </a:cubicBezTo>
                <a:cubicBezTo>
                  <a:pt x="610" y="74"/>
                  <a:pt x="621" y="63"/>
                  <a:pt x="640" y="63"/>
                </a:cubicBezTo>
                <a:cubicBezTo>
                  <a:pt x="641" y="63"/>
                  <a:pt x="641" y="63"/>
                  <a:pt x="641" y="63"/>
                </a:cubicBezTo>
                <a:cubicBezTo>
                  <a:pt x="641" y="34"/>
                  <a:pt x="641" y="34"/>
                  <a:pt x="641" y="34"/>
                </a:cubicBezTo>
                <a:cubicBezTo>
                  <a:pt x="625" y="33"/>
                  <a:pt x="616" y="42"/>
                  <a:pt x="610" y="55"/>
                </a:cubicBezTo>
                <a:close/>
                <a:moveTo>
                  <a:pt x="2038" y="1"/>
                </a:moveTo>
                <a:cubicBezTo>
                  <a:pt x="2038" y="132"/>
                  <a:pt x="2038" y="132"/>
                  <a:pt x="2038" y="132"/>
                </a:cubicBezTo>
                <a:cubicBezTo>
                  <a:pt x="2065" y="132"/>
                  <a:pt x="2065" y="132"/>
                  <a:pt x="2065" y="132"/>
                </a:cubicBezTo>
                <a:cubicBezTo>
                  <a:pt x="2065" y="1"/>
                  <a:pt x="2065" y="1"/>
                  <a:pt x="2065" y="1"/>
                </a:cubicBezTo>
                <a:lnTo>
                  <a:pt x="2038" y="1"/>
                </a:lnTo>
                <a:close/>
                <a:moveTo>
                  <a:pt x="733" y="11"/>
                </a:moveTo>
                <a:cubicBezTo>
                  <a:pt x="706" y="11"/>
                  <a:pt x="706" y="11"/>
                  <a:pt x="706" y="11"/>
                </a:cubicBezTo>
                <a:cubicBezTo>
                  <a:pt x="706" y="36"/>
                  <a:pt x="706" y="36"/>
                  <a:pt x="706" y="36"/>
                </a:cubicBezTo>
                <a:cubicBezTo>
                  <a:pt x="694" y="36"/>
                  <a:pt x="694" y="36"/>
                  <a:pt x="694" y="36"/>
                </a:cubicBezTo>
                <a:cubicBezTo>
                  <a:pt x="694" y="59"/>
                  <a:pt x="694" y="59"/>
                  <a:pt x="694" y="59"/>
                </a:cubicBezTo>
                <a:cubicBezTo>
                  <a:pt x="706" y="59"/>
                  <a:pt x="706" y="59"/>
                  <a:pt x="706" y="59"/>
                </a:cubicBezTo>
                <a:cubicBezTo>
                  <a:pt x="706" y="105"/>
                  <a:pt x="706" y="105"/>
                  <a:pt x="706" y="105"/>
                </a:cubicBezTo>
                <a:cubicBezTo>
                  <a:pt x="706" y="127"/>
                  <a:pt x="717" y="134"/>
                  <a:pt x="734" y="134"/>
                </a:cubicBezTo>
                <a:cubicBezTo>
                  <a:pt x="743" y="134"/>
                  <a:pt x="750" y="132"/>
                  <a:pt x="755" y="128"/>
                </a:cubicBezTo>
                <a:cubicBezTo>
                  <a:pt x="755" y="106"/>
                  <a:pt x="755" y="106"/>
                  <a:pt x="755" y="106"/>
                </a:cubicBezTo>
                <a:cubicBezTo>
                  <a:pt x="752" y="108"/>
                  <a:pt x="747" y="110"/>
                  <a:pt x="742" y="110"/>
                </a:cubicBezTo>
                <a:cubicBezTo>
                  <a:pt x="736" y="110"/>
                  <a:pt x="733" y="107"/>
                  <a:pt x="733" y="100"/>
                </a:cubicBezTo>
                <a:cubicBezTo>
                  <a:pt x="733" y="59"/>
                  <a:pt x="733" y="59"/>
                  <a:pt x="733" y="59"/>
                </a:cubicBezTo>
                <a:cubicBezTo>
                  <a:pt x="756" y="59"/>
                  <a:pt x="756" y="59"/>
                  <a:pt x="756" y="59"/>
                </a:cubicBezTo>
                <a:cubicBezTo>
                  <a:pt x="756" y="36"/>
                  <a:pt x="756" y="36"/>
                  <a:pt x="756" y="36"/>
                </a:cubicBezTo>
                <a:cubicBezTo>
                  <a:pt x="733" y="36"/>
                  <a:pt x="733" y="36"/>
                  <a:pt x="733" y="36"/>
                </a:cubicBezTo>
                <a:lnTo>
                  <a:pt x="733" y="11"/>
                </a:lnTo>
                <a:close/>
                <a:moveTo>
                  <a:pt x="1999" y="132"/>
                </a:moveTo>
                <a:cubicBezTo>
                  <a:pt x="2027" y="132"/>
                  <a:pt x="2027" y="132"/>
                  <a:pt x="2027" y="132"/>
                </a:cubicBezTo>
                <a:cubicBezTo>
                  <a:pt x="2027" y="1"/>
                  <a:pt x="2027" y="1"/>
                  <a:pt x="2027" y="1"/>
                </a:cubicBezTo>
                <a:cubicBezTo>
                  <a:pt x="1999" y="1"/>
                  <a:pt x="1999" y="1"/>
                  <a:pt x="1999" y="1"/>
                </a:cubicBezTo>
                <a:lnTo>
                  <a:pt x="1999" y="132"/>
                </a:lnTo>
                <a:close/>
                <a:moveTo>
                  <a:pt x="807" y="34"/>
                </a:moveTo>
                <a:cubicBezTo>
                  <a:pt x="779" y="34"/>
                  <a:pt x="760" y="57"/>
                  <a:pt x="760" y="84"/>
                </a:cubicBezTo>
                <a:cubicBezTo>
                  <a:pt x="760" y="84"/>
                  <a:pt x="760" y="84"/>
                  <a:pt x="760" y="84"/>
                </a:cubicBezTo>
                <a:cubicBezTo>
                  <a:pt x="760" y="114"/>
                  <a:pt x="781" y="134"/>
                  <a:pt x="810" y="134"/>
                </a:cubicBezTo>
                <a:cubicBezTo>
                  <a:pt x="827" y="134"/>
                  <a:pt x="840" y="127"/>
                  <a:pt x="849" y="116"/>
                </a:cubicBezTo>
                <a:cubicBezTo>
                  <a:pt x="834" y="102"/>
                  <a:pt x="834" y="102"/>
                  <a:pt x="834" y="102"/>
                </a:cubicBezTo>
                <a:cubicBezTo>
                  <a:pt x="826" y="109"/>
                  <a:pt x="820" y="112"/>
                  <a:pt x="810" y="112"/>
                </a:cubicBezTo>
                <a:cubicBezTo>
                  <a:pt x="798" y="112"/>
                  <a:pt x="790" y="106"/>
                  <a:pt x="787" y="93"/>
                </a:cubicBezTo>
                <a:cubicBezTo>
                  <a:pt x="854" y="93"/>
                  <a:pt x="854" y="93"/>
                  <a:pt x="854" y="93"/>
                </a:cubicBezTo>
                <a:cubicBezTo>
                  <a:pt x="854" y="91"/>
                  <a:pt x="854" y="88"/>
                  <a:pt x="854" y="86"/>
                </a:cubicBezTo>
                <a:cubicBezTo>
                  <a:pt x="854" y="59"/>
                  <a:pt x="839" y="34"/>
                  <a:pt x="807" y="34"/>
                </a:cubicBezTo>
                <a:close/>
                <a:moveTo>
                  <a:pt x="787" y="76"/>
                </a:moveTo>
                <a:cubicBezTo>
                  <a:pt x="789" y="64"/>
                  <a:pt x="796" y="56"/>
                  <a:pt x="807" y="56"/>
                </a:cubicBezTo>
                <a:cubicBezTo>
                  <a:pt x="819" y="56"/>
                  <a:pt x="826" y="64"/>
                  <a:pt x="828" y="76"/>
                </a:cubicBezTo>
                <a:lnTo>
                  <a:pt x="787" y="76"/>
                </a:lnTo>
                <a:close/>
                <a:moveTo>
                  <a:pt x="220" y="34"/>
                </a:moveTo>
                <a:cubicBezTo>
                  <a:pt x="207" y="34"/>
                  <a:pt x="197" y="39"/>
                  <a:pt x="189" y="49"/>
                </a:cubicBezTo>
                <a:cubicBezTo>
                  <a:pt x="184" y="40"/>
                  <a:pt x="174" y="34"/>
                  <a:pt x="161" y="34"/>
                </a:cubicBezTo>
                <a:cubicBezTo>
                  <a:pt x="148" y="34"/>
                  <a:pt x="139" y="41"/>
                  <a:pt x="133" y="50"/>
                </a:cubicBezTo>
                <a:cubicBezTo>
                  <a:pt x="133" y="36"/>
                  <a:pt x="133" y="36"/>
                  <a:pt x="133" y="36"/>
                </a:cubicBezTo>
                <a:cubicBezTo>
                  <a:pt x="106" y="36"/>
                  <a:pt x="106" y="36"/>
                  <a:pt x="106" y="36"/>
                </a:cubicBezTo>
                <a:cubicBezTo>
                  <a:pt x="106" y="132"/>
                  <a:pt x="106" y="132"/>
                  <a:pt x="106" y="132"/>
                </a:cubicBezTo>
                <a:cubicBezTo>
                  <a:pt x="133" y="132"/>
                  <a:pt x="133" y="132"/>
                  <a:pt x="133" y="132"/>
                </a:cubicBezTo>
                <a:cubicBezTo>
                  <a:pt x="133" y="78"/>
                  <a:pt x="133" y="78"/>
                  <a:pt x="133" y="78"/>
                </a:cubicBezTo>
                <a:cubicBezTo>
                  <a:pt x="133" y="65"/>
                  <a:pt x="139" y="59"/>
                  <a:pt x="150" y="59"/>
                </a:cubicBezTo>
                <a:cubicBezTo>
                  <a:pt x="160" y="59"/>
                  <a:pt x="166" y="65"/>
                  <a:pt x="166" y="78"/>
                </a:cubicBezTo>
                <a:cubicBezTo>
                  <a:pt x="166" y="132"/>
                  <a:pt x="166" y="132"/>
                  <a:pt x="166" y="132"/>
                </a:cubicBezTo>
                <a:cubicBezTo>
                  <a:pt x="193" y="132"/>
                  <a:pt x="193" y="132"/>
                  <a:pt x="193" y="132"/>
                </a:cubicBezTo>
                <a:cubicBezTo>
                  <a:pt x="193" y="78"/>
                  <a:pt x="193" y="78"/>
                  <a:pt x="193" y="78"/>
                </a:cubicBezTo>
                <a:cubicBezTo>
                  <a:pt x="193" y="65"/>
                  <a:pt x="199" y="59"/>
                  <a:pt x="209" y="59"/>
                </a:cubicBezTo>
                <a:cubicBezTo>
                  <a:pt x="220" y="59"/>
                  <a:pt x="225" y="65"/>
                  <a:pt x="225" y="78"/>
                </a:cubicBezTo>
                <a:cubicBezTo>
                  <a:pt x="225" y="132"/>
                  <a:pt x="225" y="132"/>
                  <a:pt x="225" y="132"/>
                </a:cubicBezTo>
                <a:cubicBezTo>
                  <a:pt x="253" y="132"/>
                  <a:pt x="253" y="132"/>
                  <a:pt x="253" y="132"/>
                </a:cubicBezTo>
                <a:cubicBezTo>
                  <a:pt x="253" y="69"/>
                  <a:pt x="253" y="69"/>
                  <a:pt x="253" y="69"/>
                </a:cubicBezTo>
                <a:cubicBezTo>
                  <a:pt x="253" y="46"/>
                  <a:pt x="240" y="34"/>
                  <a:pt x="220" y="34"/>
                </a:cubicBezTo>
                <a:close/>
                <a:moveTo>
                  <a:pt x="59" y="57"/>
                </a:moveTo>
                <a:cubicBezTo>
                  <a:pt x="38" y="51"/>
                  <a:pt x="32" y="49"/>
                  <a:pt x="32" y="40"/>
                </a:cubicBezTo>
                <a:cubicBezTo>
                  <a:pt x="32" y="40"/>
                  <a:pt x="32" y="40"/>
                  <a:pt x="32" y="40"/>
                </a:cubicBezTo>
                <a:cubicBezTo>
                  <a:pt x="32" y="34"/>
                  <a:pt x="38" y="29"/>
                  <a:pt x="48" y="29"/>
                </a:cubicBezTo>
                <a:cubicBezTo>
                  <a:pt x="59" y="29"/>
                  <a:pt x="70" y="34"/>
                  <a:pt x="81" y="41"/>
                </a:cubicBezTo>
                <a:cubicBezTo>
                  <a:pt x="95" y="21"/>
                  <a:pt x="95" y="21"/>
                  <a:pt x="95" y="21"/>
                </a:cubicBezTo>
                <a:cubicBezTo>
                  <a:pt x="83" y="10"/>
                  <a:pt x="67" y="5"/>
                  <a:pt x="49" y="5"/>
                </a:cubicBezTo>
                <a:cubicBezTo>
                  <a:pt x="23" y="5"/>
                  <a:pt x="5" y="20"/>
                  <a:pt x="5" y="43"/>
                </a:cubicBezTo>
                <a:cubicBezTo>
                  <a:pt x="5" y="43"/>
                  <a:pt x="5" y="43"/>
                  <a:pt x="5" y="43"/>
                </a:cubicBezTo>
                <a:cubicBezTo>
                  <a:pt x="5" y="68"/>
                  <a:pt x="21" y="75"/>
                  <a:pt x="46" y="81"/>
                </a:cubicBezTo>
                <a:cubicBezTo>
                  <a:pt x="67" y="87"/>
                  <a:pt x="72" y="90"/>
                  <a:pt x="72" y="97"/>
                </a:cubicBezTo>
                <a:cubicBezTo>
                  <a:pt x="72" y="98"/>
                  <a:pt x="72" y="98"/>
                  <a:pt x="72" y="98"/>
                </a:cubicBezTo>
                <a:cubicBezTo>
                  <a:pt x="72" y="105"/>
                  <a:pt x="65" y="109"/>
                  <a:pt x="54" y="109"/>
                </a:cubicBezTo>
                <a:cubicBezTo>
                  <a:pt x="39" y="109"/>
                  <a:pt x="27" y="104"/>
                  <a:pt x="16" y="94"/>
                </a:cubicBezTo>
                <a:cubicBezTo>
                  <a:pt x="0" y="114"/>
                  <a:pt x="0" y="114"/>
                  <a:pt x="0" y="114"/>
                </a:cubicBezTo>
                <a:cubicBezTo>
                  <a:pt x="15" y="127"/>
                  <a:pt x="34" y="134"/>
                  <a:pt x="53" y="134"/>
                </a:cubicBezTo>
                <a:cubicBezTo>
                  <a:pt x="80" y="134"/>
                  <a:pt x="99" y="120"/>
                  <a:pt x="99" y="95"/>
                </a:cubicBezTo>
                <a:cubicBezTo>
                  <a:pt x="99" y="95"/>
                  <a:pt x="99" y="95"/>
                  <a:pt x="99" y="95"/>
                </a:cubicBezTo>
                <a:cubicBezTo>
                  <a:pt x="99" y="73"/>
                  <a:pt x="85" y="63"/>
                  <a:pt x="59" y="57"/>
                </a:cubicBezTo>
                <a:close/>
                <a:moveTo>
                  <a:pt x="304" y="35"/>
                </a:moveTo>
                <a:cubicBezTo>
                  <a:pt x="287" y="35"/>
                  <a:pt x="277" y="38"/>
                  <a:pt x="266" y="43"/>
                </a:cubicBezTo>
                <a:cubicBezTo>
                  <a:pt x="273" y="63"/>
                  <a:pt x="273" y="63"/>
                  <a:pt x="273" y="63"/>
                </a:cubicBezTo>
                <a:cubicBezTo>
                  <a:pt x="282" y="60"/>
                  <a:pt x="289" y="58"/>
                  <a:pt x="300" y="58"/>
                </a:cubicBezTo>
                <a:cubicBezTo>
                  <a:pt x="313" y="58"/>
                  <a:pt x="320" y="64"/>
                  <a:pt x="320" y="76"/>
                </a:cubicBezTo>
                <a:cubicBezTo>
                  <a:pt x="320" y="77"/>
                  <a:pt x="320" y="77"/>
                  <a:pt x="320" y="77"/>
                </a:cubicBezTo>
                <a:cubicBezTo>
                  <a:pt x="314" y="75"/>
                  <a:pt x="307" y="73"/>
                  <a:pt x="297" y="73"/>
                </a:cubicBezTo>
                <a:cubicBezTo>
                  <a:pt x="274" y="73"/>
                  <a:pt x="258" y="83"/>
                  <a:pt x="258" y="104"/>
                </a:cubicBezTo>
                <a:cubicBezTo>
                  <a:pt x="258" y="104"/>
                  <a:pt x="258" y="104"/>
                  <a:pt x="258" y="104"/>
                </a:cubicBezTo>
                <a:cubicBezTo>
                  <a:pt x="258" y="123"/>
                  <a:pt x="273" y="134"/>
                  <a:pt x="291" y="134"/>
                </a:cubicBezTo>
                <a:cubicBezTo>
                  <a:pt x="304" y="134"/>
                  <a:pt x="314" y="129"/>
                  <a:pt x="320" y="122"/>
                </a:cubicBezTo>
                <a:cubicBezTo>
                  <a:pt x="320" y="132"/>
                  <a:pt x="320" y="132"/>
                  <a:pt x="320" y="132"/>
                </a:cubicBezTo>
                <a:cubicBezTo>
                  <a:pt x="347" y="132"/>
                  <a:pt x="347" y="132"/>
                  <a:pt x="347" y="132"/>
                </a:cubicBezTo>
                <a:cubicBezTo>
                  <a:pt x="347" y="76"/>
                  <a:pt x="347" y="76"/>
                  <a:pt x="347" y="76"/>
                </a:cubicBezTo>
                <a:cubicBezTo>
                  <a:pt x="347" y="63"/>
                  <a:pt x="343" y="53"/>
                  <a:pt x="336" y="46"/>
                </a:cubicBezTo>
                <a:cubicBezTo>
                  <a:pt x="329" y="39"/>
                  <a:pt x="319" y="35"/>
                  <a:pt x="304" y="35"/>
                </a:cubicBezTo>
                <a:close/>
                <a:moveTo>
                  <a:pt x="321" y="98"/>
                </a:moveTo>
                <a:cubicBezTo>
                  <a:pt x="321" y="108"/>
                  <a:pt x="312" y="115"/>
                  <a:pt x="299" y="115"/>
                </a:cubicBezTo>
                <a:cubicBezTo>
                  <a:pt x="291" y="115"/>
                  <a:pt x="285" y="111"/>
                  <a:pt x="285" y="103"/>
                </a:cubicBezTo>
                <a:cubicBezTo>
                  <a:pt x="285" y="103"/>
                  <a:pt x="285" y="103"/>
                  <a:pt x="285" y="103"/>
                </a:cubicBezTo>
                <a:cubicBezTo>
                  <a:pt x="285" y="94"/>
                  <a:pt x="292" y="90"/>
                  <a:pt x="303" y="90"/>
                </a:cubicBezTo>
                <a:cubicBezTo>
                  <a:pt x="310" y="90"/>
                  <a:pt x="316" y="91"/>
                  <a:pt x="321" y="93"/>
                </a:cubicBezTo>
                <a:lnTo>
                  <a:pt x="321" y="98"/>
                </a:lnTo>
                <a:close/>
                <a:moveTo>
                  <a:pt x="457" y="11"/>
                </a:moveTo>
                <a:cubicBezTo>
                  <a:pt x="429" y="11"/>
                  <a:pt x="429" y="11"/>
                  <a:pt x="429" y="11"/>
                </a:cubicBezTo>
                <a:cubicBezTo>
                  <a:pt x="429" y="36"/>
                  <a:pt x="429" y="36"/>
                  <a:pt x="429" y="36"/>
                </a:cubicBezTo>
                <a:cubicBezTo>
                  <a:pt x="418" y="36"/>
                  <a:pt x="418" y="36"/>
                  <a:pt x="418" y="36"/>
                </a:cubicBezTo>
                <a:cubicBezTo>
                  <a:pt x="418" y="59"/>
                  <a:pt x="418" y="59"/>
                  <a:pt x="418" y="59"/>
                </a:cubicBezTo>
                <a:cubicBezTo>
                  <a:pt x="429" y="59"/>
                  <a:pt x="429" y="59"/>
                  <a:pt x="429" y="59"/>
                </a:cubicBezTo>
                <a:cubicBezTo>
                  <a:pt x="429" y="105"/>
                  <a:pt x="429" y="105"/>
                  <a:pt x="429" y="105"/>
                </a:cubicBezTo>
                <a:cubicBezTo>
                  <a:pt x="429" y="127"/>
                  <a:pt x="441" y="134"/>
                  <a:pt x="457" y="134"/>
                </a:cubicBezTo>
                <a:cubicBezTo>
                  <a:pt x="466" y="134"/>
                  <a:pt x="473" y="132"/>
                  <a:pt x="479" y="128"/>
                </a:cubicBezTo>
                <a:cubicBezTo>
                  <a:pt x="479" y="106"/>
                  <a:pt x="479" y="106"/>
                  <a:pt x="479" y="106"/>
                </a:cubicBezTo>
                <a:cubicBezTo>
                  <a:pt x="475" y="108"/>
                  <a:pt x="470" y="110"/>
                  <a:pt x="465" y="110"/>
                </a:cubicBezTo>
                <a:cubicBezTo>
                  <a:pt x="459" y="110"/>
                  <a:pt x="457" y="107"/>
                  <a:pt x="457" y="100"/>
                </a:cubicBezTo>
                <a:cubicBezTo>
                  <a:pt x="457" y="59"/>
                  <a:pt x="457" y="59"/>
                  <a:pt x="457" y="59"/>
                </a:cubicBezTo>
                <a:cubicBezTo>
                  <a:pt x="479" y="59"/>
                  <a:pt x="479" y="59"/>
                  <a:pt x="479" y="59"/>
                </a:cubicBezTo>
                <a:cubicBezTo>
                  <a:pt x="479" y="36"/>
                  <a:pt x="479" y="36"/>
                  <a:pt x="479" y="36"/>
                </a:cubicBezTo>
                <a:cubicBezTo>
                  <a:pt x="457" y="36"/>
                  <a:pt x="457" y="36"/>
                  <a:pt x="457" y="36"/>
                </a:cubicBezTo>
                <a:lnTo>
                  <a:pt x="457" y="11"/>
                </a:lnTo>
                <a:close/>
                <a:moveTo>
                  <a:pt x="382" y="55"/>
                </a:moveTo>
                <a:cubicBezTo>
                  <a:pt x="382" y="36"/>
                  <a:pt x="382" y="36"/>
                  <a:pt x="382" y="36"/>
                </a:cubicBezTo>
                <a:cubicBezTo>
                  <a:pt x="354" y="36"/>
                  <a:pt x="354" y="36"/>
                  <a:pt x="354" y="36"/>
                </a:cubicBezTo>
                <a:cubicBezTo>
                  <a:pt x="354" y="132"/>
                  <a:pt x="354" y="132"/>
                  <a:pt x="354" y="132"/>
                </a:cubicBezTo>
                <a:cubicBezTo>
                  <a:pt x="382" y="132"/>
                  <a:pt x="382" y="132"/>
                  <a:pt x="382" y="132"/>
                </a:cubicBezTo>
                <a:cubicBezTo>
                  <a:pt x="382" y="97"/>
                  <a:pt x="382" y="97"/>
                  <a:pt x="382" y="97"/>
                </a:cubicBezTo>
                <a:cubicBezTo>
                  <a:pt x="382" y="74"/>
                  <a:pt x="393" y="63"/>
                  <a:pt x="411" y="63"/>
                </a:cubicBezTo>
                <a:cubicBezTo>
                  <a:pt x="412" y="63"/>
                  <a:pt x="412" y="63"/>
                  <a:pt x="412" y="63"/>
                </a:cubicBezTo>
                <a:cubicBezTo>
                  <a:pt x="412" y="34"/>
                  <a:pt x="412" y="34"/>
                  <a:pt x="412" y="34"/>
                </a:cubicBezTo>
                <a:cubicBezTo>
                  <a:pt x="396" y="33"/>
                  <a:pt x="387" y="42"/>
                  <a:pt x="382" y="55"/>
                </a:cubicBezTo>
                <a:close/>
                <a:moveTo>
                  <a:pt x="1335" y="34"/>
                </a:moveTo>
                <a:cubicBezTo>
                  <a:pt x="1305" y="34"/>
                  <a:pt x="1283" y="56"/>
                  <a:pt x="1283" y="84"/>
                </a:cubicBezTo>
                <a:cubicBezTo>
                  <a:pt x="1283" y="84"/>
                  <a:pt x="1283" y="84"/>
                  <a:pt x="1283" y="84"/>
                </a:cubicBezTo>
                <a:cubicBezTo>
                  <a:pt x="1283" y="112"/>
                  <a:pt x="1305" y="134"/>
                  <a:pt x="1335" y="134"/>
                </a:cubicBezTo>
                <a:cubicBezTo>
                  <a:pt x="1365" y="134"/>
                  <a:pt x="1387" y="112"/>
                  <a:pt x="1387" y="84"/>
                </a:cubicBezTo>
                <a:cubicBezTo>
                  <a:pt x="1387" y="84"/>
                  <a:pt x="1387" y="84"/>
                  <a:pt x="1387" y="84"/>
                </a:cubicBezTo>
                <a:cubicBezTo>
                  <a:pt x="1387" y="56"/>
                  <a:pt x="1365" y="34"/>
                  <a:pt x="1335" y="34"/>
                </a:cubicBezTo>
                <a:close/>
                <a:moveTo>
                  <a:pt x="1360" y="84"/>
                </a:moveTo>
                <a:cubicBezTo>
                  <a:pt x="1360" y="99"/>
                  <a:pt x="1351" y="111"/>
                  <a:pt x="1335" y="111"/>
                </a:cubicBezTo>
                <a:cubicBezTo>
                  <a:pt x="1320" y="111"/>
                  <a:pt x="1310" y="98"/>
                  <a:pt x="1310" y="84"/>
                </a:cubicBezTo>
                <a:cubicBezTo>
                  <a:pt x="1310" y="84"/>
                  <a:pt x="1310" y="84"/>
                  <a:pt x="1310" y="84"/>
                </a:cubicBezTo>
                <a:cubicBezTo>
                  <a:pt x="1310" y="70"/>
                  <a:pt x="1319" y="58"/>
                  <a:pt x="1335" y="58"/>
                </a:cubicBezTo>
                <a:cubicBezTo>
                  <a:pt x="1350" y="58"/>
                  <a:pt x="1360" y="70"/>
                  <a:pt x="1360" y="84"/>
                </a:cubicBezTo>
                <a:close/>
                <a:moveTo>
                  <a:pt x="1834" y="55"/>
                </a:moveTo>
                <a:cubicBezTo>
                  <a:pt x="1834" y="36"/>
                  <a:pt x="1834" y="36"/>
                  <a:pt x="1834" y="36"/>
                </a:cubicBezTo>
                <a:cubicBezTo>
                  <a:pt x="1807" y="36"/>
                  <a:pt x="1807" y="36"/>
                  <a:pt x="1807" y="36"/>
                </a:cubicBezTo>
                <a:cubicBezTo>
                  <a:pt x="1807" y="132"/>
                  <a:pt x="1807" y="132"/>
                  <a:pt x="1807" y="132"/>
                </a:cubicBezTo>
                <a:cubicBezTo>
                  <a:pt x="1834" y="132"/>
                  <a:pt x="1834" y="132"/>
                  <a:pt x="1834" y="132"/>
                </a:cubicBezTo>
                <a:cubicBezTo>
                  <a:pt x="1834" y="97"/>
                  <a:pt x="1834" y="97"/>
                  <a:pt x="1834" y="97"/>
                </a:cubicBezTo>
                <a:cubicBezTo>
                  <a:pt x="1834" y="74"/>
                  <a:pt x="1845" y="63"/>
                  <a:pt x="1863" y="63"/>
                </a:cubicBezTo>
                <a:cubicBezTo>
                  <a:pt x="1865" y="63"/>
                  <a:pt x="1865" y="63"/>
                  <a:pt x="1865" y="63"/>
                </a:cubicBezTo>
                <a:cubicBezTo>
                  <a:pt x="1865" y="34"/>
                  <a:pt x="1865" y="34"/>
                  <a:pt x="1865" y="34"/>
                </a:cubicBezTo>
                <a:cubicBezTo>
                  <a:pt x="1848" y="33"/>
                  <a:pt x="1839" y="42"/>
                  <a:pt x="1834" y="55"/>
                </a:cubicBezTo>
                <a:close/>
                <a:moveTo>
                  <a:pt x="1748" y="34"/>
                </a:moveTo>
                <a:cubicBezTo>
                  <a:pt x="1718" y="34"/>
                  <a:pt x="1696" y="56"/>
                  <a:pt x="1696" y="84"/>
                </a:cubicBezTo>
                <a:cubicBezTo>
                  <a:pt x="1696" y="84"/>
                  <a:pt x="1696" y="84"/>
                  <a:pt x="1696" y="84"/>
                </a:cubicBezTo>
                <a:cubicBezTo>
                  <a:pt x="1696" y="112"/>
                  <a:pt x="1718" y="134"/>
                  <a:pt x="1748" y="134"/>
                </a:cubicBezTo>
                <a:cubicBezTo>
                  <a:pt x="1778" y="134"/>
                  <a:pt x="1800" y="112"/>
                  <a:pt x="1800" y="84"/>
                </a:cubicBezTo>
                <a:cubicBezTo>
                  <a:pt x="1800" y="84"/>
                  <a:pt x="1800" y="84"/>
                  <a:pt x="1800" y="84"/>
                </a:cubicBezTo>
                <a:cubicBezTo>
                  <a:pt x="1800" y="56"/>
                  <a:pt x="1778" y="34"/>
                  <a:pt x="1748" y="34"/>
                </a:cubicBezTo>
                <a:close/>
                <a:moveTo>
                  <a:pt x="1773" y="84"/>
                </a:moveTo>
                <a:cubicBezTo>
                  <a:pt x="1773" y="99"/>
                  <a:pt x="1764" y="111"/>
                  <a:pt x="1748" y="111"/>
                </a:cubicBezTo>
                <a:cubicBezTo>
                  <a:pt x="1733" y="111"/>
                  <a:pt x="1723" y="98"/>
                  <a:pt x="1723" y="84"/>
                </a:cubicBezTo>
                <a:cubicBezTo>
                  <a:pt x="1723" y="84"/>
                  <a:pt x="1723" y="84"/>
                  <a:pt x="1723" y="84"/>
                </a:cubicBezTo>
                <a:cubicBezTo>
                  <a:pt x="1723" y="70"/>
                  <a:pt x="1732" y="58"/>
                  <a:pt x="1748" y="58"/>
                </a:cubicBezTo>
                <a:cubicBezTo>
                  <a:pt x="1763" y="58"/>
                  <a:pt x="1773" y="70"/>
                  <a:pt x="1773" y="84"/>
                </a:cubicBezTo>
                <a:close/>
                <a:moveTo>
                  <a:pt x="1465" y="48"/>
                </a:moveTo>
                <a:cubicBezTo>
                  <a:pt x="1458" y="40"/>
                  <a:pt x="1449" y="34"/>
                  <a:pt x="1434" y="34"/>
                </a:cubicBezTo>
                <a:cubicBezTo>
                  <a:pt x="1412" y="34"/>
                  <a:pt x="1391" y="50"/>
                  <a:pt x="1391" y="79"/>
                </a:cubicBezTo>
                <a:cubicBezTo>
                  <a:pt x="1391" y="79"/>
                  <a:pt x="1391" y="79"/>
                  <a:pt x="1391" y="79"/>
                </a:cubicBezTo>
                <a:cubicBezTo>
                  <a:pt x="1391" y="108"/>
                  <a:pt x="1412" y="124"/>
                  <a:pt x="1434" y="124"/>
                </a:cubicBezTo>
                <a:cubicBezTo>
                  <a:pt x="1448" y="124"/>
                  <a:pt x="1457" y="118"/>
                  <a:pt x="1465" y="109"/>
                </a:cubicBezTo>
                <a:cubicBezTo>
                  <a:pt x="1465" y="113"/>
                  <a:pt x="1465" y="113"/>
                  <a:pt x="1465" y="113"/>
                </a:cubicBezTo>
                <a:cubicBezTo>
                  <a:pt x="1465" y="130"/>
                  <a:pt x="1457" y="139"/>
                  <a:pt x="1438" y="139"/>
                </a:cubicBezTo>
                <a:cubicBezTo>
                  <a:pt x="1425" y="139"/>
                  <a:pt x="1415" y="136"/>
                  <a:pt x="1405" y="131"/>
                </a:cubicBezTo>
                <a:cubicBezTo>
                  <a:pt x="1396" y="151"/>
                  <a:pt x="1396" y="151"/>
                  <a:pt x="1396" y="151"/>
                </a:cubicBezTo>
                <a:cubicBezTo>
                  <a:pt x="1408" y="158"/>
                  <a:pt x="1423" y="161"/>
                  <a:pt x="1439" y="161"/>
                </a:cubicBezTo>
                <a:cubicBezTo>
                  <a:pt x="1457" y="161"/>
                  <a:pt x="1471" y="157"/>
                  <a:pt x="1480" y="148"/>
                </a:cubicBezTo>
                <a:cubicBezTo>
                  <a:pt x="1488" y="140"/>
                  <a:pt x="1492" y="128"/>
                  <a:pt x="1492" y="110"/>
                </a:cubicBezTo>
                <a:cubicBezTo>
                  <a:pt x="1492" y="36"/>
                  <a:pt x="1492" y="36"/>
                  <a:pt x="1492" y="36"/>
                </a:cubicBezTo>
                <a:cubicBezTo>
                  <a:pt x="1465" y="36"/>
                  <a:pt x="1465" y="36"/>
                  <a:pt x="1465" y="36"/>
                </a:cubicBezTo>
                <a:lnTo>
                  <a:pt x="1465" y="48"/>
                </a:lnTo>
                <a:close/>
                <a:moveTo>
                  <a:pt x="1465" y="79"/>
                </a:moveTo>
                <a:cubicBezTo>
                  <a:pt x="1465" y="92"/>
                  <a:pt x="1455" y="102"/>
                  <a:pt x="1442" y="102"/>
                </a:cubicBezTo>
                <a:cubicBezTo>
                  <a:pt x="1429" y="102"/>
                  <a:pt x="1419" y="93"/>
                  <a:pt x="1419" y="79"/>
                </a:cubicBezTo>
                <a:cubicBezTo>
                  <a:pt x="1419" y="79"/>
                  <a:pt x="1419" y="79"/>
                  <a:pt x="1419" y="79"/>
                </a:cubicBezTo>
                <a:cubicBezTo>
                  <a:pt x="1419" y="66"/>
                  <a:pt x="1429" y="57"/>
                  <a:pt x="1442" y="57"/>
                </a:cubicBezTo>
                <a:cubicBezTo>
                  <a:pt x="1455" y="57"/>
                  <a:pt x="1465" y="66"/>
                  <a:pt x="1465" y="79"/>
                </a:cubicBezTo>
                <a:close/>
                <a:moveTo>
                  <a:pt x="1697" y="37"/>
                </a:moveTo>
                <a:cubicBezTo>
                  <a:pt x="1675" y="37"/>
                  <a:pt x="1675" y="37"/>
                  <a:pt x="1675" y="37"/>
                </a:cubicBezTo>
                <a:cubicBezTo>
                  <a:pt x="1675" y="33"/>
                  <a:pt x="1675" y="33"/>
                  <a:pt x="1675" y="33"/>
                </a:cubicBezTo>
                <a:cubicBezTo>
                  <a:pt x="1675" y="26"/>
                  <a:pt x="1678" y="23"/>
                  <a:pt x="1684" y="23"/>
                </a:cubicBezTo>
                <a:cubicBezTo>
                  <a:pt x="1689" y="23"/>
                  <a:pt x="1693" y="24"/>
                  <a:pt x="1697" y="25"/>
                </a:cubicBezTo>
                <a:cubicBezTo>
                  <a:pt x="1697" y="2"/>
                  <a:pt x="1697" y="2"/>
                  <a:pt x="1697" y="2"/>
                </a:cubicBezTo>
                <a:cubicBezTo>
                  <a:pt x="1692" y="1"/>
                  <a:pt x="1686" y="0"/>
                  <a:pt x="1677" y="0"/>
                </a:cubicBezTo>
                <a:cubicBezTo>
                  <a:pt x="1668" y="0"/>
                  <a:pt x="1660" y="2"/>
                  <a:pt x="1655" y="7"/>
                </a:cubicBezTo>
                <a:cubicBezTo>
                  <a:pt x="1650" y="12"/>
                  <a:pt x="1648" y="20"/>
                  <a:pt x="1648" y="31"/>
                </a:cubicBezTo>
                <a:cubicBezTo>
                  <a:pt x="1648" y="37"/>
                  <a:pt x="1648" y="37"/>
                  <a:pt x="1648" y="37"/>
                </a:cubicBezTo>
                <a:cubicBezTo>
                  <a:pt x="1636" y="37"/>
                  <a:pt x="1636" y="37"/>
                  <a:pt x="1636" y="37"/>
                </a:cubicBezTo>
                <a:cubicBezTo>
                  <a:pt x="1636" y="59"/>
                  <a:pt x="1636" y="59"/>
                  <a:pt x="1636" y="59"/>
                </a:cubicBezTo>
                <a:cubicBezTo>
                  <a:pt x="1648" y="59"/>
                  <a:pt x="1648" y="59"/>
                  <a:pt x="1648" y="59"/>
                </a:cubicBezTo>
                <a:cubicBezTo>
                  <a:pt x="1648" y="132"/>
                  <a:pt x="1648" y="132"/>
                  <a:pt x="1648" y="132"/>
                </a:cubicBezTo>
                <a:cubicBezTo>
                  <a:pt x="1675" y="132"/>
                  <a:pt x="1675" y="132"/>
                  <a:pt x="1675" y="132"/>
                </a:cubicBezTo>
                <a:cubicBezTo>
                  <a:pt x="1675" y="59"/>
                  <a:pt x="1675" y="59"/>
                  <a:pt x="1675" y="59"/>
                </a:cubicBezTo>
                <a:cubicBezTo>
                  <a:pt x="1697" y="59"/>
                  <a:pt x="1697" y="59"/>
                  <a:pt x="1697" y="59"/>
                </a:cubicBezTo>
                <a:lnTo>
                  <a:pt x="1697" y="37"/>
                </a:lnTo>
                <a:close/>
                <a:moveTo>
                  <a:pt x="1548" y="101"/>
                </a:moveTo>
                <a:cubicBezTo>
                  <a:pt x="1526" y="36"/>
                  <a:pt x="1526" y="36"/>
                  <a:pt x="1526" y="36"/>
                </a:cubicBezTo>
                <a:cubicBezTo>
                  <a:pt x="1497" y="36"/>
                  <a:pt x="1497" y="36"/>
                  <a:pt x="1497" y="36"/>
                </a:cubicBezTo>
                <a:cubicBezTo>
                  <a:pt x="1535" y="132"/>
                  <a:pt x="1535" y="132"/>
                  <a:pt x="1535" y="132"/>
                </a:cubicBezTo>
                <a:cubicBezTo>
                  <a:pt x="1532" y="137"/>
                  <a:pt x="1530" y="139"/>
                  <a:pt x="1525" y="139"/>
                </a:cubicBezTo>
                <a:cubicBezTo>
                  <a:pt x="1521" y="139"/>
                  <a:pt x="1517" y="137"/>
                  <a:pt x="1513" y="135"/>
                </a:cubicBezTo>
                <a:cubicBezTo>
                  <a:pt x="1504" y="155"/>
                  <a:pt x="1504" y="155"/>
                  <a:pt x="1504" y="155"/>
                </a:cubicBezTo>
                <a:cubicBezTo>
                  <a:pt x="1511" y="159"/>
                  <a:pt x="1519" y="161"/>
                  <a:pt x="1528" y="161"/>
                </a:cubicBezTo>
                <a:cubicBezTo>
                  <a:pt x="1545" y="161"/>
                  <a:pt x="1553" y="154"/>
                  <a:pt x="1560" y="134"/>
                </a:cubicBezTo>
                <a:cubicBezTo>
                  <a:pt x="1597" y="36"/>
                  <a:pt x="1597" y="36"/>
                  <a:pt x="1597" y="36"/>
                </a:cubicBezTo>
                <a:cubicBezTo>
                  <a:pt x="1569" y="36"/>
                  <a:pt x="1569" y="36"/>
                  <a:pt x="1569" y="36"/>
                </a:cubicBezTo>
                <a:lnTo>
                  <a:pt x="1548" y="101"/>
                </a:lnTo>
                <a:close/>
                <a:moveTo>
                  <a:pt x="1008" y="34"/>
                </a:moveTo>
                <a:cubicBezTo>
                  <a:pt x="994" y="34"/>
                  <a:pt x="986" y="41"/>
                  <a:pt x="980" y="49"/>
                </a:cubicBezTo>
                <a:cubicBezTo>
                  <a:pt x="980" y="1"/>
                  <a:pt x="980" y="1"/>
                  <a:pt x="980" y="1"/>
                </a:cubicBezTo>
                <a:cubicBezTo>
                  <a:pt x="952" y="1"/>
                  <a:pt x="952" y="1"/>
                  <a:pt x="952" y="1"/>
                </a:cubicBezTo>
                <a:cubicBezTo>
                  <a:pt x="952" y="132"/>
                  <a:pt x="952" y="132"/>
                  <a:pt x="952" y="132"/>
                </a:cubicBezTo>
                <a:cubicBezTo>
                  <a:pt x="980" y="132"/>
                  <a:pt x="980" y="132"/>
                  <a:pt x="980" y="132"/>
                </a:cubicBezTo>
                <a:cubicBezTo>
                  <a:pt x="980" y="78"/>
                  <a:pt x="980" y="78"/>
                  <a:pt x="980" y="78"/>
                </a:cubicBezTo>
                <a:cubicBezTo>
                  <a:pt x="980" y="65"/>
                  <a:pt x="986" y="59"/>
                  <a:pt x="997" y="59"/>
                </a:cubicBezTo>
                <a:cubicBezTo>
                  <a:pt x="1007" y="59"/>
                  <a:pt x="1013" y="65"/>
                  <a:pt x="1013" y="78"/>
                </a:cubicBezTo>
                <a:cubicBezTo>
                  <a:pt x="1013" y="132"/>
                  <a:pt x="1013" y="132"/>
                  <a:pt x="1013" y="132"/>
                </a:cubicBezTo>
                <a:cubicBezTo>
                  <a:pt x="1040" y="132"/>
                  <a:pt x="1040" y="132"/>
                  <a:pt x="1040" y="132"/>
                </a:cubicBezTo>
                <a:cubicBezTo>
                  <a:pt x="1040" y="70"/>
                  <a:pt x="1040" y="70"/>
                  <a:pt x="1040" y="70"/>
                </a:cubicBezTo>
                <a:cubicBezTo>
                  <a:pt x="1040" y="48"/>
                  <a:pt x="1028" y="34"/>
                  <a:pt x="1008" y="34"/>
                </a:cubicBezTo>
                <a:close/>
                <a:moveTo>
                  <a:pt x="1250" y="132"/>
                </a:moveTo>
                <a:cubicBezTo>
                  <a:pt x="1278" y="132"/>
                  <a:pt x="1278" y="132"/>
                  <a:pt x="1278" y="132"/>
                </a:cubicBezTo>
                <a:cubicBezTo>
                  <a:pt x="1278" y="1"/>
                  <a:pt x="1278" y="1"/>
                  <a:pt x="1278" y="1"/>
                </a:cubicBezTo>
                <a:cubicBezTo>
                  <a:pt x="1250" y="1"/>
                  <a:pt x="1250" y="1"/>
                  <a:pt x="1250" y="1"/>
                </a:cubicBezTo>
                <a:lnTo>
                  <a:pt x="1250" y="132"/>
                </a:lnTo>
                <a:close/>
                <a:moveTo>
                  <a:pt x="1103" y="34"/>
                </a:moveTo>
                <a:cubicBezTo>
                  <a:pt x="1089" y="34"/>
                  <a:pt x="1081" y="41"/>
                  <a:pt x="1075" y="49"/>
                </a:cubicBezTo>
                <a:cubicBezTo>
                  <a:pt x="1075" y="36"/>
                  <a:pt x="1075" y="36"/>
                  <a:pt x="1075" y="36"/>
                </a:cubicBezTo>
                <a:cubicBezTo>
                  <a:pt x="1047" y="36"/>
                  <a:pt x="1047" y="36"/>
                  <a:pt x="1047" y="36"/>
                </a:cubicBezTo>
                <a:cubicBezTo>
                  <a:pt x="1047" y="132"/>
                  <a:pt x="1047" y="132"/>
                  <a:pt x="1047" y="132"/>
                </a:cubicBezTo>
                <a:cubicBezTo>
                  <a:pt x="1075" y="132"/>
                  <a:pt x="1075" y="132"/>
                  <a:pt x="1075" y="132"/>
                </a:cubicBezTo>
                <a:cubicBezTo>
                  <a:pt x="1075" y="78"/>
                  <a:pt x="1075" y="78"/>
                  <a:pt x="1075" y="78"/>
                </a:cubicBezTo>
                <a:cubicBezTo>
                  <a:pt x="1075" y="65"/>
                  <a:pt x="1081" y="59"/>
                  <a:pt x="1092" y="59"/>
                </a:cubicBezTo>
                <a:cubicBezTo>
                  <a:pt x="1102" y="59"/>
                  <a:pt x="1108" y="65"/>
                  <a:pt x="1108" y="78"/>
                </a:cubicBezTo>
                <a:cubicBezTo>
                  <a:pt x="1108" y="132"/>
                  <a:pt x="1108" y="132"/>
                  <a:pt x="1108" y="132"/>
                </a:cubicBezTo>
                <a:cubicBezTo>
                  <a:pt x="1135" y="132"/>
                  <a:pt x="1135" y="132"/>
                  <a:pt x="1135" y="132"/>
                </a:cubicBezTo>
                <a:cubicBezTo>
                  <a:pt x="1135" y="70"/>
                  <a:pt x="1135" y="70"/>
                  <a:pt x="1135" y="70"/>
                </a:cubicBezTo>
                <a:cubicBezTo>
                  <a:pt x="1135" y="48"/>
                  <a:pt x="1123" y="34"/>
                  <a:pt x="1103" y="34"/>
                </a:cubicBezTo>
                <a:close/>
                <a:moveTo>
                  <a:pt x="910" y="111"/>
                </a:moveTo>
                <a:cubicBezTo>
                  <a:pt x="895" y="111"/>
                  <a:pt x="885" y="99"/>
                  <a:pt x="885" y="84"/>
                </a:cubicBezTo>
                <a:cubicBezTo>
                  <a:pt x="885" y="84"/>
                  <a:pt x="885" y="84"/>
                  <a:pt x="885" y="84"/>
                </a:cubicBezTo>
                <a:cubicBezTo>
                  <a:pt x="885" y="70"/>
                  <a:pt x="895" y="58"/>
                  <a:pt x="909" y="58"/>
                </a:cubicBezTo>
                <a:cubicBezTo>
                  <a:pt x="918" y="58"/>
                  <a:pt x="925" y="62"/>
                  <a:pt x="931" y="68"/>
                </a:cubicBezTo>
                <a:cubicBezTo>
                  <a:pt x="947" y="50"/>
                  <a:pt x="947" y="50"/>
                  <a:pt x="947" y="50"/>
                </a:cubicBezTo>
                <a:cubicBezTo>
                  <a:pt x="938" y="40"/>
                  <a:pt x="927" y="34"/>
                  <a:pt x="909" y="34"/>
                </a:cubicBezTo>
                <a:cubicBezTo>
                  <a:pt x="880" y="34"/>
                  <a:pt x="859" y="57"/>
                  <a:pt x="859" y="84"/>
                </a:cubicBezTo>
                <a:cubicBezTo>
                  <a:pt x="859" y="84"/>
                  <a:pt x="859" y="84"/>
                  <a:pt x="859" y="84"/>
                </a:cubicBezTo>
                <a:cubicBezTo>
                  <a:pt x="859" y="112"/>
                  <a:pt x="880" y="134"/>
                  <a:pt x="909" y="134"/>
                </a:cubicBezTo>
                <a:cubicBezTo>
                  <a:pt x="928" y="134"/>
                  <a:pt x="939" y="127"/>
                  <a:pt x="948" y="117"/>
                </a:cubicBezTo>
                <a:cubicBezTo>
                  <a:pt x="932" y="100"/>
                  <a:pt x="932" y="100"/>
                  <a:pt x="932" y="100"/>
                </a:cubicBezTo>
                <a:cubicBezTo>
                  <a:pt x="925" y="107"/>
                  <a:pt x="919" y="111"/>
                  <a:pt x="910" y="111"/>
                </a:cubicBezTo>
                <a:close/>
                <a:moveTo>
                  <a:pt x="1945" y="35"/>
                </a:moveTo>
                <a:cubicBezTo>
                  <a:pt x="1929" y="35"/>
                  <a:pt x="1918" y="38"/>
                  <a:pt x="1908" y="42"/>
                </a:cubicBezTo>
                <a:cubicBezTo>
                  <a:pt x="1915" y="63"/>
                  <a:pt x="1915" y="63"/>
                  <a:pt x="1915" y="63"/>
                </a:cubicBezTo>
                <a:cubicBezTo>
                  <a:pt x="1923" y="60"/>
                  <a:pt x="1931" y="58"/>
                  <a:pt x="1941" y="58"/>
                </a:cubicBezTo>
                <a:cubicBezTo>
                  <a:pt x="1955" y="58"/>
                  <a:pt x="1962" y="64"/>
                  <a:pt x="1962" y="76"/>
                </a:cubicBezTo>
                <a:cubicBezTo>
                  <a:pt x="1962" y="77"/>
                  <a:pt x="1962" y="77"/>
                  <a:pt x="1962" y="77"/>
                </a:cubicBezTo>
                <a:cubicBezTo>
                  <a:pt x="1955" y="75"/>
                  <a:pt x="1948" y="73"/>
                  <a:pt x="1938" y="73"/>
                </a:cubicBezTo>
                <a:cubicBezTo>
                  <a:pt x="1915" y="73"/>
                  <a:pt x="1899" y="83"/>
                  <a:pt x="1899" y="104"/>
                </a:cubicBezTo>
                <a:cubicBezTo>
                  <a:pt x="1899" y="104"/>
                  <a:pt x="1899" y="104"/>
                  <a:pt x="1899" y="104"/>
                </a:cubicBezTo>
                <a:cubicBezTo>
                  <a:pt x="1899" y="123"/>
                  <a:pt x="1914" y="134"/>
                  <a:pt x="1932" y="134"/>
                </a:cubicBezTo>
                <a:cubicBezTo>
                  <a:pt x="1946" y="134"/>
                  <a:pt x="1955" y="129"/>
                  <a:pt x="1962" y="122"/>
                </a:cubicBezTo>
                <a:cubicBezTo>
                  <a:pt x="1962" y="132"/>
                  <a:pt x="1962" y="132"/>
                  <a:pt x="1962" y="132"/>
                </a:cubicBezTo>
                <a:cubicBezTo>
                  <a:pt x="1988" y="132"/>
                  <a:pt x="1988" y="132"/>
                  <a:pt x="1988" y="132"/>
                </a:cubicBezTo>
                <a:cubicBezTo>
                  <a:pt x="1988" y="76"/>
                  <a:pt x="1988" y="76"/>
                  <a:pt x="1988" y="76"/>
                </a:cubicBezTo>
                <a:cubicBezTo>
                  <a:pt x="1988" y="63"/>
                  <a:pt x="1985" y="53"/>
                  <a:pt x="1978" y="46"/>
                </a:cubicBezTo>
                <a:cubicBezTo>
                  <a:pt x="1971" y="39"/>
                  <a:pt x="1960" y="35"/>
                  <a:pt x="1945" y="35"/>
                </a:cubicBezTo>
                <a:close/>
                <a:moveTo>
                  <a:pt x="1962" y="98"/>
                </a:moveTo>
                <a:cubicBezTo>
                  <a:pt x="1962" y="108"/>
                  <a:pt x="1953" y="115"/>
                  <a:pt x="1941" y="115"/>
                </a:cubicBezTo>
                <a:cubicBezTo>
                  <a:pt x="1932" y="115"/>
                  <a:pt x="1926" y="111"/>
                  <a:pt x="1926" y="103"/>
                </a:cubicBezTo>
                <a:cubicBezTo>
                  <a:pt x="1926" y="103"/>
                  <a:pt x="1926" y="103"/>
                  <a:pt x="1926" y="103"/>
                </a:cubicBezTo>
                <a:cubicBezTo>
                  <a:pt x="1926" y="94"/>
                  <a:pt x="1933" y="90"/>
                  <a:pt x="1945" y="90"/>
                </a:cubicBezTo>
                <a:cubicBezTo>
                  <a:pt x="1951" y="90"/>
                  <a:pt x="1957" y="91"/>
                  <a:pt x="1962" y="93"/>
                </a:cubicBezTo>
                <a:lnTo>
                  <a:pt x="1962" y="98"/>
                </a:lnTo>
                <a:close/>
                <a:moveTo>
                  <a:pt x="1193" y="34"/>
                </a:moveTo>
                <a:cubicBezTo>
                  <a:pt x="1163" y="34"/>
                  <a:pt x="1141" y="56"/>
                  <a:pt x="1141" y="84"/>
                </a:cubicBezTo>
                <a:cubicBezTo>
                  <a:pt x="1141" y="84"/>
                  <a:pt x="1141" y="84"/>
                  <a:pt x="1141" y="84"/>
                </a:cubicBezTo>
                <a:cubicBezTo>
                  <a:pt x="1141" y="112"/>
                  <a:pt x="1163" y="134"/>
                  <a:pt x="1193" y="134"/>
                </a:cubicBezTo>
                <a:cubicBezTo>
                  <a:pt x="1223" y="134"/>
                  <a:pt x="1245" y="112"/>
                  <a:pt x="1245" y="84"/>
                </a:cubicBezTo>
                <a:cubicBezTo>
                  <a:pt x="1245" y="84"/>
                  <a:pt x="1245" y="84"/>
                  <a:pt x="1245" y="84"/>
                </a:cubicBezTo>
                <a:cubicBezTo>
                  <a:pt x="1245" y="56"/>
                  <a:pt x="1223" y="34"/>
                  <a:pt x="1193" y="34"/>
                </a:cubicBezTo>
                <a:close/>
                <a:moveTo>
                  <a:pt x="1218" y="84"/>
                </a:moveTo>
                <a:cubicBezTo>
                  <a:pt x="1218" y="99"/>
                  <a:pt x="1209" y="111"/>
                  <a:pt x="1193" y="111"/>
                </a:cubicBezTo>
                <a:cubicBezTo>
                  <a:pt x="1178" y="111"/>
                  <a:pt x="1168" y="98"/>
                  <a:pt x="1168" y="84"/>
                </a:cubicBezTo>
                <a:cubicBezTo>
                  <a:pt x="1168" y="84"/>
                  <a:pt x="1168" y="84"/>
                  <a:pt x="1168" y="84"/>
                </a:cubicBezTo>
                <a:cubicBezTo>
                  <a:pt x="1168" y="70"/>
                  <a:pt x="1177" y="58"/>
                  <a:pt x="1193" y="58"/>
                </a:cubicBezTo>
                <a:cubicBezTo>
                  <a:pt x="1208" y="58"/>
                  <a:pt x="1218" y="70"/>
                  <a:pt x="1218"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597216444"/>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_White">
    <p:spTree>
      <p:nvGrpSpPr>
        <p:cNvPr id="1" name=""/>
        <p:cNvGrpSpPr/>
        <p:nvPr/>
      </p:nvGrpSpPr>
      <p:grpSpPr>
        <a:xfrm>
          <a:off x="0" y="0"/>
          <a:ext cx="0" cy="0"/>
          <a:chOff x="0" y="0"/>
          <a:chExt cx="0" cy="0"/>
        </a:xfrm>
      </p:grpSpPr>
      <p:sp>
        <p:nvSpPr>
          <p:cNvPr id="46" name="Title 16"/>
          <p:cNvSpPr>
            <a:spLocks noGrp="1"/>
          </p:cNvSpPr>
          <p:nvPr>
            <p:ph type="title" hasCustomPrompt="1"/>
          </p:nvPr>
        </p:nvSpPr>
        <p:spPr bwMode="gray">
          <a:xfrm>
            <a:off x="750528" y="1549492"/>
            <a:ext cx="9914678" cy="2405203"/>
          </a:xfrm>
          <a:prstGeom prst="rect">
            <a:avLst/>
          </a:prstGeom>
        </p:spPr>
        <p:txBody>
          <a:bodyPr lIns="0" tIns="0" rIns="0" bIns="0" anchor="b" anchorCtr="0"/>
          <a:lstStyle>
            <a:lvl1pPr marL="0" algn="l" defTabSz="1218987" rtl="0" eaLnBrk="1" latinLnBrk="0" hangingPunct="1">
              <a:lnSpc>
                <a:spcPct val="75000"/>
              </a:lnSpc>
              <a:spcBef>
                <a:spcPct val="0"/>
              </a:spcBef>
              <a:buNone/>
              <a:defRPr lang="en-US" sz="6000" b="1" kern="1200" cap="none" spc="-150" baseline="0" dirty="0">
                <a:solidFill>
                  <a:schemeClr val="tx1"/>
                </a:solidFill>
                <a:latin typeface="Arial" pitchFamily="34" charset="0"/>
                <a:ea typeface="+mn-ea"/>
                <a:cs typeface="Arial" pitchFamily="34" charset="0"/>
              </a:defRPr>
            </a:lvl1pPr>
          </a:lstStyle>
          <a:p>
            <a:r>
              <a:rPr lang="en-US"/>
              <a:t>Section header</a:t>
            </a:r>
          </a:p>
        </p:txBody>
      </p:sp>
      <p:sp>
        <p:nvSpPr>
          <p:cNvPr id="11" name="Text Placeholder 2"/>
          <p:cNvSpPr>
            <a:spLocks noGrp="1"/>
          </p:cNvSpPr>
          <p:nvPr>
            <p:ph type="body" idx="1" hasCustomPrompt="1"/>
          </p:nvPr>
        </p:nvSpPr>
        <p:spPr bwMode="white">
          <a:xfrm>
            <a:off x="750528" y="4328650"/>
            <a:ext cx="9914678" cy="327013"/>
          </a:xfrm>
          <a:prstGeom prst="rect">
            <a:avLst/>
          </a:prstGeom>
        </p:spPr>
        <p:txBody>
          <a:bodyPr wrap="square" lIns="0" tIns="0" rIns="0" bIns="0" anchor="t" anchorCtr="0">
            <a:spAutoFit/>
          </a:bodyPr>
          <a:lstStyle>
            <a:lvl1pPr marL="0" indent="0">
              <a:lnSpc>
                <a:spcPct val="85000"/>
              </a:lnSpc>
              <a:spcBef>
                <a:spcPts val="0"/>
              </a:spcBef>
              <a:buNone/>
              <a:defRPr sz="2500" spc="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head here</a:t>
            </a:r>
          </a:p>
        </p:txBody>
      </p:sp>
      <p:sp>
        <p:nvSpPr>
          <p:cNvPr id="2" name="Slide Number Placeholder 4">
            <a:extLst>
              <a:ext uri="{FF2B5EF4-FFF2-40B4-BE49-F238E27FC236}">
                <a16:creationId xmlns:a16="http://schemas.microsoft.com/office/drawing/2014/main" id="{70D0B480-073F-D8E7-D056-B7669F9E0161}"/>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1214473473"/>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_Black">
    <p:spTree>
      <p:nvGrpSpPr>
        <p:cNvPr id="1" name=""/>
        <p:cNvGrpSpPr/>
        <p:nvPr/>
      </p:nvGrpSpPr>
      <p:grpSpPr>
        <a:xfrm>
          <a:off x="0" y="0"/>
          <a:ext cx="0" cy="0"/>
          <a:chOff x="0" y="0"/>
          <a:chExt cx="0" cy="0"/>
        </a:xfrm>
      </p:grpSpPr>
      <p:sp>
        <p:nvSpPr>
          <p:cNvPr id="46" name="Title 16"/>
          <p:cNvSpPr>
            <a:spLocks noGrp="1"/>
          </p:cNvSpPr>
          <p:nvPr>
            <p:ph type="title" hasCustomPrompt="1"/>
          </p:nvPr>
        </p:nvSpPr>
        <p:spPr bwMode="gray">
          <a:xfrm>
            <a:off x="750529" y="1549492"/>
            <a:ext cx="9923824" cy="2405203"/>
          </a:xfrm>
          <a:prstGeom prst="rect">
            <a:avLst/>
          </a:prstGeom>
        </p:spPr>
        <p:txBody>
          <a:bodyPr lIns="0" tIns="0" rIns="0" bIns="0" anchor="b" anchorCtr="0"/>
          <a:lstStyle>
            <a:lvl1pPr marL="0" algn="l" defTabSz="1218987" rtl="0" eaLnBrk="1" latinLnBrk="0" hangingPunct="1">
              <a:lnSpc>
                <a:spcPct val="75000"/>
              </a:lnSpc>
              <a:spcBef>
                <a:spcPct val="0"/>
              </a:spcBef>
              <a:buNone/>
              <a:defRPr lang="en-US" sz="6000" b="1" kern="1200" cap="none" spc="-150" baseline="0" dirty="0">
                <a:solidFill>
                  <a:schemeClr val="bg1"/>
                </a:solidFill>
                <a:latin typeface="Arial" pitchFamily="34" charset="0"/>
                <a:ea typeface="+mn-ea"/>
                <a:cs typeface="Arial" pitchFamily="34" charset="0"/>
              </a:defRPr>
            </a:lvl1pPr>
          </a:lstStyle>
          <a:p>
            <a:r>
              <a:rPr lang="en-US"/>
              <a:t>Section header</a:t>
            </a:r>
          </a:p>
        </p:txBody>
      </p:sp>
      <p:sp>
        <p:nvSpPr>
          <p:cNvPr id="11" name="Text Placeholder 2"/>
          <p:cNvSpPr>
            <a:spLocks noGrp="1"/>
          </p:cNvSpPr>
          <p:nvPr>
            <p:ph type="body" idx="1" hasCustomPrompt="1"/>
          </p:nvPr>
        </p:nvSpPr>
        <p:spPr bwMode="white">
          <a:xfrm>
            <a:off x="750529" y="4328650"/>
            <a:ext cx="9923824" cy="327013"/>
          </a:xfrm>
          <a:prstGeom prst="rect">
            <a:avLst/>
          </a:prstGeom>
        </p:spPr>
        <p:txBody>
          <a:bodyPr wrap="square" lIns="0" tIns="0" rIns="0" bIns="0" anchor="t" anchorCtr="0">
            <a:spAutoFit/>
          </a:bodyPr>
          <a:lstStyle>
            <a:lvl1pPr marL="0" indent="0">
              <a:lnSpc>
                <a:spcPct val="85000"/>
              </a:lnSpc>
              <a:spcBef>
                <a:spcPts val="0"/>
              </a:spcBef>
              <a:buNone/>
              <a:defRPr sz="2500" spc="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head here</a:t>
            </a:r>
          </a:p>
        </p:txBody>
      </p:sp>
      <p:sp>
        <p:nvSpPr>
          <p:cNvPr id="5" name="Slide Number Placeholder 4">
            <a:extLst>
              <a:ext uri="{FF2B5EF4-FFF2-40B4-BE49-F238E27FC236}">
                <a16:creationId xmlns:a16="http://schemas.microsoft.com/office/drawing/2014/main" id="{E7C22F89-ADF9-0A52-8877-914CA372E2DE}"/>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2938707974"/>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E65BE6-0F2D-3CE3-DDEE-4ED80B988B63}"/>
              </a:ext>
            </a:extLst>
          </p:cNvPr>
          <p:cNvGraphicFramePr>
            <a:graphicFrameLocks noChangeAspect="1"/>
          </p:cNvGraphicFramePr>
          <p:nvPr userDrawn="1">
            <p:custDataLst>
              <p:tags r:id="rId1"/>
            </p:custDataLst>
            <p:extLst>
              <p:ext uri="{D42A27DB-BD31-4B8C-83A1-F6EECF244321}">
                <p14:modId xmlns:p14="http://schemas.microsoft.com/office/powerpoint/2010/main" val="96625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4" name="think-cell data - do not delete" hidden="1">
                        <a:extLst>
                          <a:ext uri="{FF2B5EF4-FFF2-40B4-BE49-F238E27FC236}">
                            <a16:creationId xmlns:a16="http://schemas.microsoft.com/office/drawing/2014/main" id="{E0E65BE6-0F2D-3CE3-DDEE-4ED80B988B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itle 28"/>
          <p:cNvSpPr>
            <a:spLocks noGrp="1"/>
          </p:cNvSpPr>
          <p:nvPr>
            <p:ph type="title" hasCustomPrompt="1"/>
          </p:nvPr>
        </p:nvSpPr>
        <p:spPr bwMode="gray">
          <a:xfrm>
            <a:off x="760611" y="442528"/>
            <a:ext cx="10670780" cy="418576"/>
          </a:xfrm>
          <a:prstGeom prst="rect">
            <a:avLst/>
          </a:prstGeom>
        </p:spPr>
        <p:txBody>
          <a:bodyPr vert="horz"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3" name="Slide Number Placeholder 4">
            <a:extLst>
              <a:ext uri="{FF2B5EF4-FFF2-40B4-BE49-F238E27FC236}">
                <a16:creationId xmlns:a16="http://schemas.microsoft.com/office/drawing/2014/main" id="{3EF9FA08-DFD5-7A53-DEEC-2EED73038660}"/>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2" name="Picture 1" descr="A logo with text on it&#10;&#10;AI-generated content may be incorrect.">
            <a:extLst>
              <a:ext uri="{FF2B5EF4-FFF2-40B4-BE49-F238E27FC236}">
                <a16:creationId xmlns:a16="http://schemas.microsoft.com/office/drawing/2014/main" id="{7DF03AB3-18BC-1CA7-56FE-FA1750715885}"/>
              </a:ext>
            </a:extLst>
          </p:cNvPr>
          <p:cNvPicPr>
            <a:picLocks noChangeAspect="1"/>
          </p:cNvPicPr>
          <p:nvPr userDrawn="1"/>
        </p:nvPicPr>
        <p:blipFill>
          <a:blip r:embed="rId5"/>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3204386466"/>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_Black">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4">
            <a:extLst>
              <a:ext uri="{FF2B5EF4-FFF2-40B4-BE49-F238E27FC236}">
                <a16:creationId xmlns:a16="http://schemas.microsoft.com/office/drawing/2014/main" id="{F4B92E02-3256-AF79-7B9F-4856EDA5D0DD}"/>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72AFF54A-7D16-6E44-1A73-52BBE90BE1EF}"/>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3541446049"/>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1BBB41-2737-E895-ED50-4D610A2E2574}"/>
              </a:ext>
            </a:extLst>
          </p:cNvPr>
          <p:cNvGraphicFramePr>
            <a:graphicFrameLocks noChangeAspect="1"/>
          </p:cNvGraphicFramePr>
          <p:nvPr userDrawn="1">
            <p:custDataLst>
              <p:tags r:id="rId1"/>
            </p:custDataLst>
            <p:extLst>
              <p:ext uri="{D42A27DB-BD31-4B8C-83A1-F6EECF244321}">
                <p14:modId xmlns:p14="http://schemas.microsoft.com/office/powerpoint/2010/main" val="128185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3E1BBB41-2737-E895-ED50-4D610A2E25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p:cNvSpPr>
            <a:spLocks noGrp="1"/>
          </p:cNvSpPr>
          <p:nvPr>
            <p:ph type="body" idx="10" hasCustomPrompt="1"/>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bg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1" y="442528"/>
            <a:ext cx="10670780" cy="418576"/>
          </a:xfrm>
          <a:prstGeom prst="rect">
            <a:avLst/>
          </a:prstGeom>
        </p:spPr>
        <p:txBody>
          <a:bodyPr vert="horz"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4">
            <a:extLst>
              <a:ext uri="{FF2B5EF4-FFF2-40B4-BE49-F238E27FC236}">
                <a16:creationId xmlns:a16="http://schemas.microsoft.com/office/drawing/2014/main" id="{1A1CD4CF-4C99-B965-8221-1D43A4038D4A}"/>
              </a:ext>
            </a:extLst>
          </p:cNvPr>
          <p:cNvSpPr>
            <a:spLocks noGrp="1"/>
          </p:cNvSpPr>
          <p:nvPr>
            <p:ph type="sldNum" sz="quarter" idx="11"/>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4" name="Picture 3" descr="A logo with text on it&#10;&#10;AI-generated content may be incorrect.">
            <a:extLst>
              <a:ext uri="{FF2B5EF4-FFF2-40B4-BE49-F238E27FC236}">
                <a16:creationId xmlns:a16="http://schemas.microsoft.com/office/drawing/2014/main" id="{1A58952E-31C0-ABBF-36B0-0DFE97F8B785}"/>
              </a:ext>
            </a:extLst>
          </p:cNvPr>
          <p:cNvPicPr>
            <a:picLocks noChangeAspect="1"/>
          </p:cNvPicPr>
          <p:nvPr userDrawn="1"/>
        </p:nvPicPr>
        <p:blipFill>
          <a:blip r:embed="rId5"/>
          <a:srcRect l="7194" t="19638" r="6561" b="14268"/>
          <a:stretch/>
        </p:blipFill>
        <p:spPr>
          <a:xfrm>
            <a:off x="10368951" y="6168269"/>
            <a:ext cx="1164040" cy="559299"/>
          </a:xfrm>
          <a:prstGeom prst="rect">
            <a:avLst/>
          </a:prstGeom>
        </p:spPr>
      </p:pic>
    </p:spTree>
    <p:extLst>
      <p:ext uri="{BB962C8B-B14F-4D97-AF65-F5344CB8AC3E}">
        <p14:creationId xmlns:p14="http://schemas.microsoft.com/office/powerpoint/2010/main" val="1180312001"/>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99A0C0A2-1C95-CF60-15E7-57B445A89924}"/>
              </a:ext>
            </a:extLst>
          </p:cNvPr>
          <p:cNvSpPr>
            <a:spLocks noGrp="1"/>
          </p:cNvSpPr>
          <p:nvPr>
            <p:ph type="sldNum" sz="quarter" idx="10"/>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966753239"/>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with Subtitle Only_Black">
    <p:spTree>
      <p:nvGrpSpPr>
        <p:cNvPr id="1" name=""/>
        <p:cNvGrpSpPr/>
        <p:nvPr/>
      </p:nvGrpSpPr>
      <p:grpSpPr>
        <a:xfrm>
          <a:off x="0" y="0"/>
          <a:ext cx="0" cy="0"/>
          <a:chOff x="0" y="0"/>
          <a:chExt cx="0" cy="0"/>
        </a:xfrm>
      </p:grpSpPr>
      <p:sp>
        <p:nvSpPr>
          <p:cNvPr id="23" name="Text Placeholder 2"/>
          <p:cNvSpPr>
            <a:spLocks noGrp="1"/>
          </p:cNvSpPr>
          <p:nvPr>
            <p:ph type="body" idx="10" hasCustomPrompt="1"/>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bg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4">
            <a:extLst>
              <a:ext uri="{FF2B5EF4-FFF2-40B4-BE49-F238E27FC236}">
                <a16:creationId xmlns:a16="http://schemas.microsoft.com/office/drawing/2014/main" id="{74BEFAE3-2AEA-BD72-1FA3-40F7B4486DD9}"/>
              </a:ext>
            </a:extLst>
          </p:cNvPr>
          <p:cNvSpPr>
            <a:spLocks noGrp="1"/>
          </p:cNvSpPr>
          <p:nvPr>
            <p:ph type="sldNum" sz="quarter" idx="11"/>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3FC652D1-16A3-8CD1-121B-745E35701881}"/>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3342866408"/>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760611" y="1308880"/>
            <a:ext cx="10673828" cy="4787120"/>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4">
            <a:extLst>
              <a:ext uri="{FF2B5EF4-FFF2-40B4-BE49-F238E27FC236}">
                <a16:creationId xmlns:a16="http://schemas.microsoft.com/office/drawing/2014/main" id="{411C6EB8-98E1-6E2D-9A27-DDA2D17DBBA5}"/>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78111DDF-F7E0-71F4-25CC-5720A28FDC17}"/>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1918926994"/>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_Black">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760612" y="1308880"/>
            <a:ext cx="10670778" cy="4787120"/>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4">
            <a:extLst>
              <a:ext uri="{FF2B5EF4-FFF2-40B4-BE49-F238E27FC236}">
                <a16:creationId xmlns:a16="http://schemas.microsoft.com/office/drawing/2014/main" id="{FBA1938D-4942-232B-81C6-87DF9ED4CABD}"/>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F70E675C-FC52-66D2-C324-14A2D227CA7C}"/>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1153826330"/>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with Subtitle Content">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760610" y="1749388"/>
            <a:ext cx="10673829" cy="4346612"/>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tx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 name="Slide Number Placeholder 4">
            <a:extLst>
              <a:ext uri="{FF2B5EF4-FFF2-40B4-BE49-F238E27FC236}">
                <a16:creationId xmlns:a16="http://schemas.microsoft.com/office/drawing/2014/main" id="{076F0D1A-E280-9EDB-A940-4D3188124E4D}"/>
              </a:ext>
            </a:extLst>
          </p:cNvPr>
          <p:cNvSpPr>
            <a:spLocks noGrp="1"/>
          </p:cNvSpPr>
          <p:nvPr>
            <p:ph type="sldNum" sz="quarter" idx="11"/>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63FF0949-D766-5B34-6935-E9474F6274BB}"/>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178115886"/>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with Subtitle Content_Black">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760610" y="1749389"/>
            <a:ext cx="10673829" cy="4346612"/>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hasCustomPrompt="1"/>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bg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4">
            <a:extLst>
              <a:ext uri="{FF2B5EF4-FFF2-40B4-BE49-F238E27FC236}">
                <a16:creationId xmlns:a16="http://schemas.microsoft.com/office/drawing/2014/main" id="{8C5607B5-1683-2B4A-CDDC-C29E54942310}"/>
              </a:ext>
            </a:extLst>
          </p:cNvPr>
          <p:cNvSpPr>
            <a:spLocks noGrp="1"/>
          </p:cNvSpPr>
          <p:nvPr>
            <p:ph type="sldNum" sz="quarter" idx="11"/>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F28AD72C-94B6-013B-E8BD-460AD46A0CB7}"/>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1724546469"/>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Slide">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0" y="1307593"/>
            <a:ext cx="5070324"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half" idx="14"/>
          </p:nvPr>
        </p:nvSpPr>
        <p:spPr bwMode="gray">
          <a:xfrm>
            <a:off x="6340962" y="1307593"/>
            <a:ext cx="5067096"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4">
            <a:extLst>
              <a:ext uri="{FF2B5EF4-FFF2-40B4-BE49-F238E27FC236}">
                <a16:creationId xmlns:a16="http://schemas.microsoft.com/office/drawing/2014/main" id="{CC49BD5B-D6EB-BE05-DC40-C31E1ECAAF21}"/>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1922971071"/>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Slide_Black">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0" y="1307594"/>
            <a:ext cx="5070324"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half" idx="14"/>
          </p:nvPr>
        </p:nvSpPr>
        <p:spPr bwMode="gray">
          <a:xfrm>
            <a:off x="6340962" y="1307594"/>
            <a:ext cx="5067096"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A1D52F52-4191-E70A-A15D-3F4D0CF0AA2B}"/>
              </a:ext>
            </a:extLst>
          </p:cNvPr>
          <p:cNvSpPr>
            <a:spLocks noGrp="1"/>
          </p:cNvSpPr>
          <p:nvPr>
            <p:ph type="sldNum" sz="quarter" idx="15"/>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FFE6BE30-BD14-118A-8970-569617EC5259}"/>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1485166919"/>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Slide">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4"/>
            <a:ext cx="3343142"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sz="half" idx="10"/>
          </p:nvPr>
        </p:nvSpPr>
        <p:spPr bwMode="gray">
          <a:xfrm>
            <a:off x="4378398" y="1307594"/>
            <a:ext cx="3344059"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sz="half" idx="11"/>
          </p:nvPr>
        </p:nvSpPr>
        <p:spPr bwMode="gray">
          <a:xfrm>
            <a:off x="8017903" y="1307594"/>
            <a:ext cx="3416536"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4">
            <a:extLst>
              <a:ext uri="{FF2B5EF4-FFF2-40B4-BE49-F238E27FC236}">
                <a16:creationId xmlns:a16="http://schemas.microsoft.com/office/drawing/2014/main" id="{B93366F1-FF34-0F6E-49D3-73D4C650967B}"/>
              </a:ext>
            </a:extLst>
          </p:cNvPr>
          <p:cNvSpPr>
            <a:spLocks noGrp="1"/>
          </p:cNvSpPr>
          <p:nvPr>
            <p:ph type="sldNum" sz="quarter" idx="12"/>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2" name="Picture 1" descr="A logo with text on it&#10;&#10;AI-generated content may be incorrect.">
            <a:extLst>
              <a:ext uri="{FF2B5EF4-FFF2-40B4-BE49-F238E27FC236}">
                <a16:creationId xmlns:a16="http://schemas.microsoft.com/office/drawing/2014/main" id="{0E5FDD27-5432-3A87-4F61-0C9CFDF17E1E}"/>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1856762579"/>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lumn Slide_Black">
    <p:spTree>
      <p:nvGrpSpPr>
        <p:cNvPr id="1" name=""/>
        <p:cNvGrpSpPr/>
        <p:nvPr/>
      </p:nvGrpSpPr>
      <p:grpSpPr>
        <a:xfrm>
          <a:off x="0" y="0"/>
          <a:ext cx="0" cy="0"/>
          <a:chOff x="0" y="0"/>
          <a:chExt cx="0" cy="0"/>
        </a:xfrm>
      </p:grpSpPr>
      <p:sp>
        <p:nvSpPr>
          <p:cNvPr id="11"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4"/>
            <a:ext cx="3343142"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sz="half" idx="10"/>
          </p:nvPr>
        </p:nvSpPr>
        <p:spPr bwMode="gray">
          <a:xfrm>
            <a:off x="4378399" y="1307594"/>
            <a:ext cx="3343142"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sz="half" idx="11"/>
          </p:nvPr>
        </p:nvSpPr>
        <p:spPr bwMode="gray">
          <a:xfrm>
            <a:off x="8017903" y="1307594"/>
            <a:ext cx="3416536" cy="4788407"/>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4">
            <a:extLst>
              <a:ext uri="{FF2B5EF4-FFF2-40B4-BE49-F238E27FC236}">
                <a16:creationId xmlns:a16="http://schemas.microsoft.com/office/drawing/2014/main" id="{8065E225-8ACF-E47D-A587-43DA4B387BA1}"/>
              </a:ext>
            </a:extLst>
          </p:cNvPr>
          <p:cNvSpPr>
            <a:spLocks noGrp="1"/>
          </p:cNvSpPr>
          <p:nvPr>
            <p:ph type="sldNum" sz="quarter" idx="12"/>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A0BA4503-7FB7-8C8B-1B91-EF555355D559}"/>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2373184275"/>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w/Image">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1" y="442528"/>
            <a:ext cx="5725006"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3"/>
            <a:ext cx="5725006"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8"/>
          <p:cNvSpPr>
            <a:spLocks noGrp="1"/>
          </p:cNvSpPr>
          <p:nvPr>
            <p:ph type="pic" sz="quarter" idx="16"/>
          </p:nvPr>
        </p:nvSpPr>
        <p:spPr>
          <a:xfrm>
            <a:off x="6858199" y="0"/>
            <a:ext cx="5333800"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2" name="Slide Number Placeholder 1">
            <a:extLst>
              <a:ext uri="{FF2B5EF4-FFF2-40B4-BE49-F238E27FC236}">
                <a16:creationId xmlns:a16="http://schemas.microsoft.com/office/drawing/2014/main" id="{C8F3C117-A202-AC1A-30DA-A95049B2670E}"/>
              </a:ext>
            </a:extLst>
          </p:cNvPr>
          <p:cNvSpPr>
            <a:spLocks noGrp="1"/>
          </p:cNvSpPr>
          <p:nvPr>
            <p:ph type="sldNum" sz="quarter" idx="17"/>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18428388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Only_Black">
    <p:bg>
      <p:bgPr>
        <a:solidFill>
          <a:srgbClr val="1E0013"/>
        </a:solidFill>
        <a:effectLst/>
      </p:bgPr>
    </p:bg>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A245D89D-54AB-A7D6-4141-95E6B3C3695D}"/>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1112747587"/>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w/Image_Black">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1" y="442528"/>
            <a:ext cx="5725006"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16" name="Content Placeholder 2"/>
          <p:cNvSpPr>
            <a:spLocks noGrp="1"/>
          </p:cNvSpPr>
          <p:nvPr>
            <p:ph sz="half" idx="1"/>
          </p:nvPr>
        </p:nvSpPr>
        <p:spPr bwMode="gray">
          <a:xfrm>
            <a:off x="760611" y="1307593"/>
            <a:ext cx="5725006" cy="4919589"/>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8"/>
          <p:cNvSpPr>
            <a:spLocks noGrp="1"/>
          </p:cNvSpPr>
          <p:nvPr>
            <p:ph type="pic" sz="quarter" idx="16"/>
          </p:nvPr>
        </p:nvSpPr>
        <p:spPr>
          <a:xfrm>
            <a:off x="6858199" y="0"/>
            <a:ext cx="5333800"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2" name="Slide Number Placeholder 4">
            <a:extLst>
              <a:ext uri="{FF2B5EF4-FFF2-40B4-BE49-F238E27FC236}">
                <a16:creationId xmlns:a16="http://schemas.microsoft.com/office/drawing/2014/main" id="{CAAFF3FE-DF3B-87BD-0A07-3074E11BF133}"/>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965642326"/>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 + Statement">
    <p:spTree>
      <p:nvGrpSpPr>
        <p:cNvPr id="1" name=""/>
        <p:cNvGrpSpPr/>
        <p:nvPr/>
      </p:nvGrpSpPr>
      <p:grpSpPr>
        <a:xfrm>
          <a:off x="0" y="0"/>
          <a:ext cx="0" cy="0"/>
          <a:chOff x="0" y="0"/>
          <a:chExt cx="0" cy="0"/>
        </a:xfrm>
      </p:grpSpPr>
      <p:sp>
        <p:nvSpPr>
          <p:cNvPr id="3" name="Rectangle 2"/>
          <p:cNvSpPr/>
          <p:nvPr userDrawn="1"/>
        </p:nvSpPr>
        <p:spPr>
          <a:xfrm>
            <a:off x="1" y="0"/>
            <a:ext cx="406284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Picture Placeholder 8"/>
          <p:cNvSpPr>
            <a:spLocks noGrp="1"/>
          </p:cNvSpPr>
          <p:nvPr>
            <p:ph type="pic" sz="quarter" idx="16"/>
          </p:nvPr>
        </p:nvSpPr>
        <p:spPr>
          <a:xfrm>
            <a:off x="4571604" y="0"/>
            <a:ext cx="7620396"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14" name="Text Placeholder 3"/>
          <p:cNvSpPr>
            <a:spLocks noGrp="1"/>
          </p:cNvSpPr>
          <p:nvPr>
            <p:ph type="body" sz="quarter" idx="18" hasCustomPrompt="1"/>
          </p:nvPr>
        </p:nvSpPr>
        <p:spPr>
          <a:xfrm>
            <a:off x="760610" y="995010"/>
            <a:ext cx="3428016" cy="1436465"/>
          </a:xfrm>
          <a:prstGeom prst="rect">
            <a:avLst/>
          </a:prstGeom>
          <a:noFill/>
        </p:spPr>
        <p:txBody>
          <a:bodyPr lIns="0" tIns="0" rIns="0" bIns="0" anchor="b" anchorCtr="0">
            <a:noAutofit/>
          </a:bodyPr>
          <a:lstStyle>
            <a:lvl1pPr marL="0" indent="0">
              <a:lnSpc>
                <a:spcPct val="85000"/>
              </a:lnSpc>
              <a:spcBef>
                <a:spcPts val="0"/>
              </a:spcBef>
              <a:buFont typeface="Arial" panose="020B0604020202020204" pitchFamily="34" charset="0"/>
              <a:buNone/>
              <a:defRPr sz="4400" b="1" strike="noStrike" spc="-150" baseline="0">
                <a:solidFill>
                  <a:schemeClr val="tx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Click to edit slide title</a:t>
            </a:r>
          </a:p>
        </p:txBody>
      </p:sp>
      <p:sp>
        <p:nvSpPr>
          <p:cNvPr id="2" name="Slide Number Placeholder 1">
            <a:extLst>
              <a:ext uri="{FF2B5EF4-FFF2-40B4-BE49-F238E27FC236}">
                <a16:creationId xmlns:a16="http://schemas.microsoft.com/office/drawing/2014/main" id="{DA2637C5-16EA-761D-E2F8-7F6B3E3B6F6C}"/>
              </a:ext>
            </a:extLst>
          </p:cNvPr>
          <p:cNvSpPr>
            <a:spLocks noGrp="1"/>
          </p:cNvSpPr>
          <p:nvPr>
            <p:ph type="sldNum" sz="quarter" idx="2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
        <p:nvSpPr>
          <p:cNvPr id="12" name="Content Placeholder 2">
            <a:extLst>
              <a:ext uri="{FF2B5EF4-FFF2-40B4-BE49-F238E27FC236}">
                <a16:creationId xmlns:a16="http://schemas.microsoft.com/office/drawing/2014/main" id="{3939283D-21AA-FD28-A517-FFF4AF9FDA82}"/>
              </a:ext>
            </a:extLst>
          </p:cNvPr>
          <p:cNvSpPr>
            <a:spLocks noGrp="1"/>
          </p:cNvSpPr>
          <p:nvPr>
            <p:ph sz="half" idx="1"/>
          </p:nvPr>
        </p:nvSpPr>
        <p:spPr bwMode="gray">
          <a:xfrm>
            <a:off x="760610" y="2815936"/>
            <a:ext cx="3428016" cy="3280064"/>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06630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 Statement_Black">
    <p:spTree>
      <p:nvGrpSpPr>
        <p:cNvPr id="1" name=""/>
        <p:cNvGrpSpPr/>
        <p:nvPr/>
      </p:nvGrpSpPr>
      <p:grpSpPr>
        <a:xfrm>
          <a:off x="0" y="0"/>
          <a:ext cx="0" cy="0"/>
          <a:chOff x="0" y="0"/>
          <a:chExt cx="0" cy="0"/>
        </a:xfrm>
      </p:grpSpPr>
      <p:sp>
        <p:nvSpPr>
          <p:cNvPr id="3" name="Rectangle 2"/>
          <p:cNvSpPr/>
          <p:nvPr userDrawn="1"/>
        </p:nvSpPr>
        <p:spPr>
          <a:xfrm>
            <a:off x="1" y="0"/>
            <a:ext cx="4062849"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Picture Placeholder 8"/>
          <p:cNvSpPr>
            <a:spLocks noGrp="1"/>
          </p:cNvSpPr>
          <p:nvPr>
            <p:ph type="pic" sz="quarter" idx="16"/>
          </p:nvPr>
        </p:nvSpPr>
        <p:spPr>
          <a:xfrm>
            <a:off x="4571604" y="0"/>
            <a:ext cx="7620396"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2" name="Slide Number Placeholder 1">
            <a:extLst>
              <a:ext uri="{FF2B5EF4-FFF2-40B4-BE49-F238E27FC236}">
                <a16:creationId xmlns:a16="http://schemas.microsoft.com/office/drawing/2014/main" id="{EC182470-3621-1323-235D-7DBA176E68EC}"/>
              </a:ext>
            </a:extLst>
          </p:cNvPr>
          <p:cNvSpPr>
            <a:spLocks noGrp="1"/>
          </p:cNvSpPr>
          <p:nvPr>
            <p:ph type="sldNum" sz="quarter" idx="20"/>
          </p:nvPr>
        </p:nvSpPr>
        <p:spPr>
          <a:xfrm>
            <a:off x="11672569" y="6400800"/>
            <a:ext cx="439026" cy="155448"/>
          </a:xfrm>
          <a:prstGeom prst="rect">
            <a:avLst/>
          </a:prstGeom>
        </p:spPr>
        <p:txBody>
          <a:bodyPr/>
          <a:lstStyle>
            <a:lvl1pPr>
              <a:defRPr>
                <a:solidFill>
                  <a:schemeClr val="bg1"/>
                </a:solidFill>
              </a:defRPr>
            </a:lvl1pPr>
          </a:lstStyle>
          <a:p>
            <a:fld id="{6D22F896-40B5-4ADD-8801-0D06FADFA095}" type="slidenum">
              <a:rPr lang="en-US" smtClean="0"/>
              <a:pPr/>
              <a:t>‹#›</a:t>
            </a:fld>
            <a:endParaRPr lang="en-US"/>
          </a:p>
        </p:txBody>
      </p:sp>
      <p:sp>
        <p:nvSpPr>
          <p:cNvPr id="29" name="Text Placeholder 3">
            <a:extLst>
              <a:ext uri="{FF2B5EF4-FFF2-40B4-BE49-F238E27FC236}">
                <a16:creationId xmlns:a16="http://schemas.microsoft.com/office/drawing/2014/main" id="{C11FB6FD-7B80-D920-2B92-D358B184462D}"/>
              </a:ext>
            </a:extLst>
          </p:cNvPr>
          <p:cNvSpPr>
            <a:spLocks noGrp="1"/>
          </p:cNvSpPr>
          <p:nvPr>
            <p:ph type="body" sz="quarter" idx="18" hasCustomPrompt="1"/>
          </p:nvPr>
        </p:nvSpPr>
        <p:spPr>
          <a:xfrm>
            <a:off x="760610" y="995010"/>
            <a:ext cx="3428016" cy="1436465"/>
          </a:xfrm>
          <a:prstGeom prst="rect">
            <a:avLst/>
          </a:prstGeom>
          <a:noFill/>
        </p:spPr>
        <p:txBody>
          <a:bodyPr lIns="0" tIns="0" rIns="0" bIns="0" anchor="b" anchorCtr="0">
            <a:noAutofit/>
          </a:bodyPr>
          <a:lstStyle>
            <a:lvl1pPr marL="0" indent="0">
              <a:lnSpc>
                <a:spcPct val="85000"/>
              </a:lnSpc>
              <a:spcBef>
                <a:spcPts val="0"/>
              </a:spcBef>
              <a:buFont typeface="Arial" panose="020B0604020202020204" pitchFamily="34" charset="0"/>
              <a:buNone/>
              <a:defRPr sz="4400" b="1" strike="noStrike" spc="-150" baseline="0">
                <a:solidFill>
                  <a:schemeClr val="bg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Click to edit slide title</a:t>
            </a:r>
          </a:p>
        </p:txBody>
      </p:sp>
      <p:sp>
        <p:nvSpPr>
          <p:cNvPr id="30" name="Content Placeholder 2">
            <a:extLst>
              <a:ext uri="{FF2B5EF4-FFF2-40B4-BE49-F238E27FC236}">
                <a16:creationId xmlns:a16="http://schemas.microsoft.com/office/drawing/2014/main" id="{5F150789-C64C-B456-4B9A-24AED7315FBB}"/>
              </a:ext>
            </a:extLst>
          </p:cNvPr>
          <p:cNvSpPr>
            <a:spLocks noGrp="1"/>
          </p:cNvSpPr>
          <p:nvPr>
            <p:ph sz="half" idx="1"/>
          </p:nvPr>
        </p:nvSpPr>
        <p:spPr bwMode="gray">
          <a:xfrm>
            <a:off x="760610" y="2815936"/>
            <a:ext cx="3428016" cy="3280064"/>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4615137"/>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g Idea">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FEF7F64-EAB6-F941-857A-EB6862B07383}"/>
              </a:ext>
            </a:extLst>
          </p:cNvPr>
          <p:cNvSpPr>
            <a:spLocks noGrp="1"/>
          </p:cNvSpPr>
          <p:nvPr>
            <p:ph type="body" sz="quarter" idx="11" hasCustomPrompt="1"/>
          </p:nvPr>
        </p:nvSpPr>
        <p:spPr>
          <a:xfrm>
            <a:off x="760611" y="1757775"/>
            <a:ext cx="10670779" cy="3342453"/>
          </a:xfrm>
          <a:prstGeom prst="rect">
            <a:avLst/>
          </a:prstGeom>
        </p:spPr>
        <p:txBody>
          <a:bodyPr wrap="square" lIns="0" rIns="0" anchor="ctr" anchorCtr="0">
            <a:spAutoFit/>
          </a:bodyPr>
          <a:lstStyle>
            <a:lvl1pPr marL="0" indent="0">
              <a:lnSpc>
                <a:spcPct val="80000"/>
              </a:lnSpc>
              <a:spcBef>
                <a:spcPts val="0"/>
              </a:spcBef>
              <a:buNone/>
              <a:defRPr sz="8800" b="1">
                <a:solidFill>
                  <a:schemeClr val="bg1"/>
                </a:solidFill>
              </a:defRPr>
            </a:lvl1pPr>
            <a:lvl2pPr marL="609494" indent="0">
              <a:buNone/>
              <a:defRPr/>
            </a:lvl2pPr>
          </a:lstStyle>
          <a:p>
            <a:pPr lvl="0"/>
            <a:r>
              <a:rPr lang="en-US"/>
              <a:t>Click to edit big idea, statement or subject</a:t>
            </a:r>
          </a:p>
        </p:txBody>
      </p:sp>
      <p:sp>
        <p:nvSpPr>
          <p:cNvPr id="2" name="Slide Number Placeholder 4">
            <a:extLst>
              <a:ext uri="{FF2B5EF4-FFF2-40B4-BE49-F238E27FC236}">
                <a16:creationId xmlns:a16="http://schemas.microsoft.com/office/drawing/2014/main" id="{FB76C863-E58D-0522-E1FF-9244F7400A55}"/>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762854C8-FFE0-B36D-F33F-03451C861D3D}"/>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1752465183"/>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15" name="Text Placeholder 107"/>
          <p:cNvSpPr>
            <a:spLocks noGrp="1"/>
          </p:cNvSpPr>
          <p:nvPr>
            <p:ph type="body" sz="quarter" idx="18" hasCustomPrompt="1"/>
          </p:nvPr>
        </p:nvSpPr>
        <p:spPr bwMode="white">
          <a:xfrm>
            <a:off x="759025" y="1812556"/>
            <a:ext cx="9910169" cy="2759445"/>
          </a:xfrm>
          <a:prstGeom prst="rect">
            <a:avLst/>
          </a:prstGeom>
        </p:spPr>
        <p:txBody>
          <a:bodyPr lIns="0" anchor="t">
            <a:normAutofit/>
          </a:bodyPr>
          <a:lstStyle>
            <a:lvl1pPr marL="0" indent="0" algn="l">
              <a:lnSpc>
                <a:spcPct val="85000"/>
              </a:lnSpc>
              <a:spcBef>
                <a:spcPts val="0"/>
              </a:spcBef>
              <a:buNone/>
              <a:defRPr sz="4400" b="1" spc="-150">
                <a:solidFill>
                  <a:schemeClr val="tx1"/>
                </a:solidFill>
              </a:defRPr>
            </a:lvl1pPr>
            <a:lvl2pPr marL="341313" indent="0" algn="ctr">
              <a:buNone/>
              <a:defRPr>
                <a:solidFill>
                  <a:schemeClr val="bg1"/>
                </a:solidFill>
              </a:defRPr>
            </a:lvl2pPr>
            <a:lvl3pPr marL="679450" indent="0" algn="ctr">
              <a:buNone/>
              <a:defRPr>
                <a:solidFill>
                  <a:schemeClr val="bg1"/>
                </a:solidFill>
              </a:defRPr>
            </a:lvl3pPr>
            <a:lvl4pPr marL="966787" indent="0" algn="ctr">
              <a:buNone/>
              <a:defRPr>
                <a:solidFill>
                  <a:schemeClr val="bg1"/>
                </a:solidFill>
              </a:defRPr>
            </a:lvl4pPr>
            <a:lvl5pPr marL="1146175" indent="0" algn="ctr">
              <a:buNone/>
              <a:defRPr>
                <a:solidFill>
                  <a:schemeClr val="bg1"/>
                </a:solidFill>
              </a:defRPr>
            </a:lvl5pPr>
          </a:lstStyle>
          <a:p>
            <a:pPr lvl="0"/>
            <a:r>
              <a:rPr lang="en-US"/>
              <a:t>Click to edit quote</a:t>
            </a:r>
          </a:p>
        </p:txBody>
      </p:sp>
      <p:sp>
        <p:nvSpPr>
          <p:cNvPr id="17" name="Text Placeholder 110"/>
          <p:cNvSpPr>
            <a:spLocks noGrp="1"/>
          </p:cNvSpPr>
          <p:nvPr>
            <p:ph type="body" sz="quarter" idx="19" hasCustomPrompt="1"/>
          </p:nvPr>
        </p:nvSpPr>
        <p:spPr>
          <a:xfrm>
            <a:off x="759024" y="5045446"/>
            <a:ext cx="9910169" cy="406265"/>
          </a:xfrm>
          <a:prstGeom prst="rect">
            <a:avLst/>
          </a:prstGeom>
        </p:spPr>
        <p:txBody>
          <a:bodyPr lIns="0">
            <a:spAutoFit/>
          </a:bodyPr>
          <a:lstStyle>
            <a:lvl1pPr marL="0" indent="0" algn="l">
              <a:lnSpc>
                <a:spcPct val="85000"/>
              </a:lnSpc>
              <a:spcBef>
                <a:spcPts val="0"/>
              </a:spcBef>
              <a:buNone/>
              <a:defRPr sz="2400" b="1" spc="-150" baseline="0">
                <a:solidFill>
                  <a:schemeClr val="tx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Click to edit quote source</a:t>
            </a:r>
          </a:p>
        </p:txBody>
      </p:sp>
      <p:grpSp>
        <p:nvGrpSpPr>
          <p:cNvPr id="11" name="Group 10">
            <a:extLst>
              <a:ext uri="{FF2B5EF4-FFF2-40B4-BE49-F238E27FC236}">
                <a16:creationId xmlns:a16="http://schemas.microsoft.com/office/drawing/2014/main" id="{A037CD95-D004-2B21-4A36-C02C76A5C015}"/>
              </a:ext>
            </a:extLst>
          </p:cNvPr>
          <p:cNvGrpSpPr/>
          <p:nvPr userDrawn="1"/>
        </p:nvGrpSpPr>
        <p:grpSpPr>
          <a:xfrm>
            <a:off x="759024" y="788988"/>
            <a:ext cx="990858" cy="735013"/>
            <a:chOff x="657226" y="398463"/>
            <a:chExt cx="990600" cy="735013"/>
          </a:xfrm>
          <a:solidFill>
            <a:schemeClr val="accent1"/>
          </a:solidFill>
        </p:grpSpPr>
        <p:sp>
          <p:nvSpPr>
            <p:cNvPr id="12" name="Freeform 5">
              <a:extLst>
                <a:ext uri="{FF2B5EF4-FFF2-40B4-BE49-F238E27FC236}">
                  <a16:creationId xmlns:a16="http://schemas.microsoft.com/office/drawing/2014/main" id="{7478010D-01FF-497C-41EB-76A4E063D3B3}"/>
                </a:ext>
              </a:extLst>
            </p:cNvPr>
            <p:cNvSpPr>
              <a:spLocks/>
            </p:cNvSpPr>
            <p:nvPr userDrawn="1"/>
          </p:nvSpPr>
          <p:spPr bwMode="auto">
            <a:xfrm>
              <a:off x="657226" y="398463"/>
              <a:ext cx="452438" cy="735013"/>
            </a:xfrm>
            <a:custGeom>
              <a:avLst/>
              <a:gdLst>
                <a:gd name="T0" fmla="*/ 0 w 452"/>
                <a:gd name="T1" fmla="*/ 428 h 736"/>
                <a:gd name="T2" fmla="*/ 422 w 452"/>
                <a:gd name="T3" fmla="*/ 0 h 736"/>
                <a:gd name="T4" fmla="*/ 452 w 452"/>
                <a:gd name="T5" fmla="*/ 144 h 736"/>
                <a:gd name="T6" fmla="*/ 228 w 452"/>
                <a:gd name="T7" fmla="*/ 370 h 736"/>
                <a:gd name="T8" fmla="*/ 370 w 452"/>
                <a:gd name="T9" fmla="*/ 370 h 736"/>
                <a:gd name="T10" fmla="*/ 370 w 452"/>
                <a:gd name="T11" fmla="*/ 736 h 736"/>
                <a:gd name="T12" fmla="*/ 0 w 452"/>
                <a:gd name="T13" fmla="*/ 736 h 736"/>
                <a:gd name="T14" fmla="*/ 0 w 452"/>
                <a:gd name="T15" fmla="*/ 428 h 7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736">
                  <a:moveTo>
                    <a:pt x="0" y="428"/>
                  </a:moveTo>
                  <a:cubicBezTo>
                    <a:pt x="0" y="126"/>
                    <a:pt x="151" y="5"/>
                    <a:pt x="422" y="0"/>
                  </a:cubicBezTo>
                  <a:cubicBezTo>
                    <a:pt x="452" y="144"/>
                    <a:pt x="452" y="144"/>
                    <a:pt x="452" y="144"/>
                  </a:cubicBezTo>
                  <a:cubicBezTo>
                    <a:pt x="294" y="160"/>
                    <a:pt x="217" y="240"/>
                    <a:pt x="228" y="370"/>
                  </a:cubicBezTo>
                  <a:cubicBezTo>
                    <a:pt x="370" y="370"/>
                    <a:pt x="370" y="370"/>
                    <a:pt x="370" y="370"/>
                  </a:cubicBezTo>
                  <a:cubicBezTo>
                    <a:pt x="370" y="736"/>
                    <a:pt x="370" y="736"/>
                    <a:pt x="370" y="736"/>
                  </a:cubicBezTo>
                  <a:cubicBezTo>
                    <a:pt x="0" y="736"/>
                    <a:pt x="0" y="736"/>
                    <a:pt x="0" y="736"/>
                  </a:cubicBezTo>
                  <a:lnTo>
                    <a:pt x="0"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6">
              <a:extLst>
                <a:ext uri="{FF2B5EF4-FFF2-40B4-BE49-F238E27FC236}">
                  <a16:creationId xmlns:a16="http://schemas.microsoft.com/office/drawing/2014/main" id="{C7C4737E-BF88-7B2F-7399-008A3E052A17}"/>
                </a:ext>
              </a:extLst>
            </p:cNvPr>
            <p:cNvSpPr>
              <a:spLocks/>
            </p:cNvSpPr>
            <p:nvPr userDrawn="1"/>
          </p:nvSpPr>
          <p:spPr bwMode="auto">
            <a:xfrm>
              <a:off x="1195388" y="398463"/>
              <a:ext cx="452438" cy="735013"/>
            </a:xfrm>
            <a:custGeom>
              <a:avLst/>
              <a:gdLst>
                <a:gd name="T0" fmla="*/ 0 w 452"/>
                <a:gd name="T1" fmla="*/ 428 h 736"/>
                <a:gd name="T2" fmla="*/ 422 w 452"/>
                <a:gd name="T3" fmla="*/ 0 h 736"/>
                <a:gd name="T4" fmla="*/ 452 w 452"/>
                <a:gd name="T5" fmla="*/ 144 h 736"/>
                <a:gd name="T6" fmla="*/ 228 w 452"/>
                <a:gd name="T7" fmla="*/ 370 h 736"/>
                <a:gd name="T8" fmla="*/ 370 w 452"/>
                <a:gd name="T9" fmla="*/ 370 h 736"/>
                <a:gd name="T10" fmla="*/ 370 w 452"/>
                <a:gd name="T11" fmla="*/ 736 h 736"/>
                <a:gd name="T12" fmla="*/ 0 w 452"/>
                <a:gd name="T13" fmla="*/ 736 h 736"/>
                <a:gd name="T14" fmla="*/ 0 w 452"/>
                <a:gd name="T15" fmla="*/ 428 h 7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736">
                  <a:moveTo>
                    <a:pt x="0" y="428"/>
                  </a:moveTo>
                  <a:cubicBezTo>
                    <a:pt x="0" y="126"/>
                    <a:pt x="151" y="5"/>
                    <a:pt x="422" y="0"/>
                  </a:cubicBezTo>
                  <a:cubicBezTo>
                    <a:pt x="452" y="144"/>
                    <a:pt x="452" y="144"/>
                    <a:pt x="452" y="144"/>
                  </a:cubicBezTo>
                  <a:cubicBezTo>
                    <a:pt x="294" y="160"/>
                    <a:pt x="217" y="240"/>
                    <a:pt x="228" y="370"/>
                  </a:cubicBezTo>
                  <a:cubicBezTo>
                    <a:pt x="370" y="370"/>
                    <a:pt x="370" y="370"/>
                    <a:pt x="370" y="370"/>
                  </a:cubicBezTo>
                  <a:cubicBezTo>
                    <a:pt x="370" y="736"/>
                    <a:pt x="370" y="736"/>
                    <a:pt x="370" y="736"/>
                  </a:cubicBezTo>
                  <a:cubicBezTo>
                    <a:pt x="0" y="736"/>
                    <a:pt x="0" y="736"/>
                    <a:pt x="0" y="736"/>
                  </a:cubicBezTo>
                  <a:lnTo>
                    <a:pt x="0"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 name="Slide Number Placeholder 4">
            <a:extLst>
              <a:ext uri="{FF2B5EF4-FFF2-40B4-BE49-F238E27FC236}">
                <a16:creationId xmlns:a16="http://schemas.microsoft.com/office/drawing/2014/main" id="{C3D1E78D-8A99-0E13-ECF1-4A459FEBEEF7}"/>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DADAC38F-B9D3-ACE2-BCBB-1D0C377643C7}"/>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205953613"/>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_Black">
    <p:spTree>
      <p:nvGrpSpPr>
        <p:cNvPr id="1" name=""/>
        <p:cNvGrpSpPr/>
        <p:nvPr/>
      </p:nvGrpSpPr>
      <p:grpSpPr>
        <a:xfrm>
          <a:off x="0" y="0"/>
          <a:ext cx="0" cy="0"/>
          <a:chOff x="0" y="0"/>
          <a:chExt cx="0" cy="0"/>
        </a:xfrm>
      </p:grpSpPr>
      <p:sp>
        <p:nvSpPr>
          <p:cNvPr id="15" name="Text Placeholder 107"/>
          <p:cNvSpPr>
            <a:spLocks noGrp="1"/>
          </p:cNvSpPr>
          <p:nvPr>
            <p:ph type="body" sz="quarter" idx="18" hasCustomPrompt="1"/>
          </p:nvPr>
        </p:nvSpPr>
        <p:spPr bwMode="white">
          <a:xfrm>
            <a:off x="759025" y="1812556"/>
            <a:ext cx="9914678" cy="2763845"/>
          </a:xfrm>
          <a:prstGeom prst="rect">
            <a:avLst/>
          </a:prstGeom>
        </p:spPr>
        <p:txBody>
          <a:bodyPr lIns="0" anchor="t">
            <a:normAutofit/>
          </a:bodyPr>
          <a:lstStyle>
            <a:lvl1pPr marL="0" indent="0" algn="l">
              <a:lnSpc>
                <a:spcPct val="85000"/>
              </a:lnSpc>
              <a:spcBef>
                <a:spcPts val="0"/>
              </a:spcBef>
              <a:buNone/>
              <a:defRPr sz="4400" b="1" spc="-150">
                <a:solidFill>
                  <a:schemeClr val="bg1"/>
                </a:solidFill>
              </a:defRPr>
            </a:lvl1pPr>
            <a:lvl2pPr marL="341313" indent="0" algn="ctr">
              <a:buNone/>
              <a:defRPr>
                <a:solidFill>
                  <a:schemeClr val="bg1"/>
                </a:solidFill>
              </a:defRPr>
            </a:lvl2pPr>
            <a:lvl3pPr marL="679450" indent="0" algn="ctr">
              <a:buNone/>
              <a:defRPr>
                <a:solidFill>
                  <a:schemeClr val="bg1"/>
                </a:solidFill>
              </a:defRPr>
            </a:lvl3pPr>
            <a:lvl4pPr marL="966787" indent="0" algn="ctr">
              <a:buNone/>
              <a:defRPr>
                <a:solidFill>
                  <a:schemeClr val="bg1"/>
                </a:solidFill>
              </a:defRPr>
            </a:lvl4pPr>
            <a:lvl5pPr marL="1146175" indent="0" algn="ctr">
              <a:buNone/>
              <a:defRPr>
                <a:solidFill>
                  <a:schemeClr val="bg1"/>
                </a:solidFill>
              </a:defRPr>
            </a:lvl5pPr>
          </a:lstStyle>
          <a:p>
            <a:pPr lvl="0"/>
            <a:r>
              <a:rPr lang="en-US"/>
              <a:t>Click to edit quote</a:t>
            </a:r>
          </a:p>
        </p:txBody>
      </p:sp>
      <p:sp>
        <p:nvSpPr>
          <p:cNvPr id="17" name="Text Placeholder 110"/>
          <p:cNvSpPr>
            <a:spLocks noGrp="1"/>
          </p:cNvSpPr>
          <p:nvPr>
            <p:ph type="body" sz="quarter" idx="19" hasCustomPrompt="1"/>
          </p:nvPr>
        </p:nvSpPr>
        <p:spPr>
          <a:xfrm>
            <a:off x="759024" y="5045446"/>
            <a:ext cx="9914679" cy="406265"/>
          </a:xfrm>
          <a:prstGeom prst="rect">
            <a:avLst/>
          </a:prstGeom>
        </p:spPr>
        <p:txBody>
          <a:bodyPr lIns="0">
            <a:noAutofit/>
          </a:bodyPr>
          <a:lstStyle>
            <a:lvl1pPr marL="0" indent="0" algn="l">
              <a:lnSpc>
                <a:spcPct val="85000"/>
              </a:lnSpc>
              <a:spcBef>
                <a:spcPts val="0"/>
              </a:spcBef>
              <a:buNone/>
              <a:defRPr sz="2400" b="1" spc="-150" baseline="0">
                <a:solidFill>
                  <a:schemeClr val="bg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Click to edit quote source</a:t>
            </a:r>
          </a:p>
        </p:txBody>
      </p:sp>
      <p:sp>
        <p:nvSpPr>
          <p:cNvPr id="2" name="Slide Number Placeholder 1">
            <a:extLst>
              <a:ext uri="{FF2B5EF4-FFF2-40B4-BE49-F238E27FC236}">
                <a16:creationId xmlns:a16="http://schemas.microsoft.com/office/drawing/2014/main" id="{765C380F-7235-3AB0-03FD-9418F9E88CA5}"/>
              </a:ext>
            </a:extLst>
          </p:cNvPr>
          <p:cNvSpPr>
            <a:spLocks noGrp="1"/>
          </p:cNvSpPr>
          <p:nvPr>
            <p:ph type="sldNum" sz="quarter" idx="2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grpSp>
        <p:nvGrpSpPr>
          <p:cNvPr id="18" name="Group 17">
            <a:extLst>
              <a:ext uri="{FF2B5EF4-FFF2-40B4-BE49-F238E27FC236}">
                <a16:creationId xmlns:a16="http://schemas.microsoft.com/office/drawing/2014/main" id="{3302BD98-6DAE-1743-EC0B-3BD86F2E6E9E}"/>
              </a:ext>
            </a:extLst>
          </p:cNvPr>
          <p:cNvGrpSpPr/>
          <p:nvPr userDrawn="1"/>
        </p:nvGrpSpPr>
        <p:grpSpPr>
          <a:xfrm>
            <a:off x="759024" y="788988"/>
            <a:ext cx="990858" cy="735013"/>
            <a:chOff x="657226" y="398463"/>
            <a:chExt cx="990600" cy="735013"/>
          </a:xfrm>
          <a:solidFill>
            <a:schemeClr val="accent1"/>
          </a:solidFill>
        </p:grpSpPr>
        <p:sp>
          <p:nvSpPr>
            <p:cNvPr id="19" name="Freeform 5">
              <a:extLst>
                <a:ext uri="{FF2B5EF4-FFF2-40B4-BE49-F238E27FC236}">
                  <a16:creationId xmlns:a16="http://schemas.microsoft.com/office/drawing/2014/main" id="{7427A43A-50DD-D6E1-5FBF-AC4CB787054F}"/>
                </a:ext>
              </a:extLst>
            </p:cNvPr>
            <p:cNvSpPr>
              <a:spLocks/>
            </p:cNvSpPr>
            <p:nvPr userDrawn="1"/>
          </p:nvSpPr>
          <p:spPr bwMode="auto">
            <a:xfrm>
              <a:off x="657226" y="398463"/>
              <a:ext cx="452438" cy="735013"/>
            </a:xfrm>
            <a:custGeom>
              <a:avLst/>
              <a:gdLst>
                <a:gd name="T0" fmla="*/ 0 w 452"/>
                <a:gd name="T1" fmla="*/ 428 h 736"/>
                <a:gd name="T2" fmla="*/ 422 w 452"/>
                <a:gd name="T3" fmla="*/ 0 h 736"/>
                <a:gd name="T4" fmla="*/ 452 w 452"/>
                <a:gd name="T5" fmla="*/ 144 h 736"/>
                <a:gd name="T6" fmla="*/ 228 w 452"/>
                <a:gd name="T7" fmla="*/ 370 h 736"/>
                <a:gd name="T8" fmla="*/ 370 w 452"/>
                <a:gd name="T9" fmla="*/ 370 h 736"/>
                <a:gd name="T10" fmla="*/ 370 w 452"/>
                <a:gd name="T11" fmla="*/ 736 h 736"/>
                <a:gd name="T12" fmla="*/ 0 w 452"/>
                <a:gd name="T13" fmla="*/ 736 h 736"/>
                <a:gd name="T14" fmla="*/ 0 w 452"/>
                <a:gd name="T15" fmla="*/ 428 h 7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736">
                  <a:moveTo>
                    <a:pt x="0" y="428"/>
                  </a:moveTo>
                  <a:cubicBezTo>
                    <a:pt x="0" y="126"/>
                    <a:pt x="151" y="5"/>
                    <a:pt x="422" y="0"/>
                  </a:cubicBezTo>
                  <a:cubicBezTo>
                    <a:pt x="452" y="144"/>
                    <a:pt x="452" y="144"/>
                    <a:pt x="452" y="144"/>
                  </a:cubicBezTo>
                  <a:cubicBezTo>
                    <a:pt x="294" y="160"/>
                    <a:pt x="217" y="240"/>
                    <a:pt x="228" y="370"/>
                  </a:cubicBezTo>
                  <a:cubicBezTo>
                    <a:pt x="370" y="370"/>
                    <a:pt x="370" y="370"/>
                    <a:pt x="370" y="370"/>
                  </a:cubicBezTo>
                  <a:cubicBezTo>
                    <a:pt x="370" y="736"/>
                    <a:pt x="370" y="736"/>
                    <a:pt x="370" y="736"/>
                  </a:cubicBezTo>
                  <a:cubicBezTo>
                    <a:pt x="0" y="736"/>
                    <a:pt x="0" y="736"/>
                    <a:pt x="0" y="736"/>
                  </a:cubicBezTo>
                  <a:lnTo>
                    <a:pt x="0"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6">
              <a:extLst>
                <a:ext uri="{FF2B5EF4-FFF2-40B4-BE49-F238E27FC236}">
                  <a16:creationId xmlns:a16="http://schemas.microsoft.com/office/drawing/2014/main" id="{10BB8F0C-C9B6-64D7-DD2C-3BDDA0FDE7B3}"/>
                </a:ext>
              </a:extLst>
            </p:cNvPr>
            <p:cNvSpPr>
              <a:spLocks/>
            </p:cNvSpPr>
            <p:nvPr userDrawn="1"/>
          </p:nvSpPr>
          <p:spPr bwMode="auto">
            <a:xfrm>
              <a:off x="1195388" y="398463"/>
              <a:ext cx="452438" cy="735013"/>
            </a:xfrm>
            <a:custGeom>
              <a:avLst/>
              <a:gdLst>
                <a:gd name="T0" fmla="*/ 0 w 452"/>
                <a:gd name="T1" fmla="*/ 428 h 736"/>
                <a:gd name="T2" fmla="*/ 422 w 452"/>
                <a:gd name="T3" fmla="*/ 0 h 736"/>
                <a:gd name="T4" fmla="*/ 452 w 452"/>
                <a:gd name="T5" fmla="*/ 144 h 736"/>
                <a:gd name="T6" fmla="*/ 228 w 452"/>
                <a:gd name="T7" fmla="*/ 370 h 736"/>
                <a:gd name="T8" fmla="*/ 370 w 452"/>
                <a:gd name="T9" fmla="*/ 370 h 736"/>
                <a:gd name="T10" fmla="*/ 370 w 452"/>
                <a:gd name="T11" fmla="*/ 736 h 736"/>
                <a:gd name="T12" fmla="*/ 0 w 452"/>
                <a:gd name="T13" fmla="*/ 736 h 736"/>
                <a:gd name="T14" fmla="*/ 0 w 452"/>
                <a:gd name="T15" fmla="*/ 428 h 7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736">
                  <a:moveTo>
                    <a:pt x="0" y="428"/>
                  </a:moveTo>
                  <a:cubicBezTo>
                    <a:pt x="0" y="126"/>
                    <a:pt x="151" y="5"/>
                    <a:pt x="422" y="0"/>
                  </a:cubicBezTo>
                  <a:cubicBezTo>
                    <a:pt x="452" y="144"/>
                    <a:pt x="452" y="144"/>
                    <a:pt x="452" y="144"/>
                  </a:cubicBezTo>
                  <a:cubicBezTo>
                    <a:pt x="294" y="160"/>
                    <a:pt x="217" y="240"/>
                    <a:pt x="228" y="370"/>
                  </a:cubicBezTo>
                  <a:cubicBezTo>
                    <a:pt x="370" y="370"/>
                    <a:pt x="370" y="370"/>
                    <a:pt x="370" y="370"/>
                  </a:cubicBezTo>
                  <a:cubicBezTo>
                    <a:pt x="370" y="736"/>
                    <a:pt x="370" y="736"/>
                    <a:pt x="370" y="736"/>
                  </a:cubicBezTo>
                  <a:cubicBezTo>
                    <a:pt x="0" y="736"/>
                    <a:pt x="0" y="736"/>
                    <a:pt x="0" y="736"/>
                  </a:cubicBezTo>
                  <a:lnTo>
                    <a:pt x="0"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3" name="Picture 2" descr="A logo with text on it&#10;&#10;AI-generated content may be incorrect.">
            <a:extLst>
              <a:ext uri="{FF2B5EF4-FFF2-40B4-BE49-F238E27FC236}">
                <a16:creationId xmlns:a16="http://schemas.microsoft.com/office/drawing/2014/main" id="{16D71587-8314-D7C0-BACF-19FCCD2F8459}"/>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1886033433"/>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w/ Product">
    <p:spTree>
      <p:nvGrpSpPr>
        <p:cNvPr id="1" name=""/>
        <p:cNvGrpSpPr/>
        <p:nvPr/>
      </p:nvGrpSpPr>
      <p:grpSpPr>
        <a:xfrm>
          <a:off x="0" y="0"/>
          <a:ext cx="0" cy="0"/>
          <a:chOff x="0" y="0"/>
          <a:chExt cx="0" cy="0"/>
        </a:xfrm>
      </p:grpSpPr>
      <p:sp>
        <p:nvSpPr>
          <p:cNvPr id="7" name="Picture Placeholder 8"/>
          <p:cNvSpPr>
            <a:spLocks noGrp="1"/>
          </p:cNvSpPr>
          <p:nvPr>
            <p:ph type="pic" sz="quarter" idx="17"/>
          </p:nvPr>
        </p:nvSpPr>
        <p:spPr>
          <a:xfrm>
            <a:off x="0" y="0"/>
            <a:ext cx="6095999"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9" name="Content Placeholder 2"/>
          <p:cNvSpPr>
            <a:spLocks noGrp="1"/>
          </p:cNvSpPr>
          <p:nvPr>
            <p:ph sz="half" idx="18"/>
          </p:nvPr>
        </p:nvSpPr>
        <p:spPr bwMode="gray">
          <a:xfrm>
            <a:off x="6858198" y="1307593"/>
            <a:ext cx="4573192" cy="4788408"/>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28"/>
          <p:cNvSpPr>
            <a:spLocks noGrp="1"/>
          </p:cNvSpPr>
          <p:nvPr>
            <p:ph type="title" hasCustomPrompt="1"/>
          </p:nvPr>
        </p:nvSpPr>
        <p:spPr bwMode="gray">
          <a:xfrm>
            <a:off x="6858198" y="442528"/>
            <a:ext cx="4573192"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title</a:t>
            </a:r>
          </a:p>
        </p:txBody>
      </p:sp>
      <p:sp>
        <p:nvSpPr>
          <p:cNvPr id="2" name="Slide Number Placeholder 1">
            <a:extLst>
              <a:ext uri="{FF2B5EF4-FFF2-40B4-BE49-F238E27FC236}">
                <a16:creationId xmlns:a16="http://schemas.microsoft.com/office/drawing/2014/main" id="{0AFBC96C-E04F-90E6-1BBE-C65ECD6E5C14}"/>
              </a:ext>
            </a:extLst>
          </p:cNvPr>
          <p:cNvSpPr>
            <a:spLocks noGrp="1"/>
          </p:cNvSpPr>
          <p:nvPr>
            <p:ph type="sldNum" sz="quarter" idx="19"/>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4130740148"/>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w/ Product_Black">
    <p:spTree>
      <p:nvGrpSpPr>
        <p:cNvPr id="1" name=""/>
        <p:cNvGrpSpPr/>
        <p:nvPr/>
      </p:nvGrpSpPr>
      <p:grpSpPr>
        <a:xfrm>
          <a:off x="0" y="0"/>
          <a:ext cx="0" cy="0"/>
          <a:chOff x="0" y="0"/>
          <a:chExt cx="0" cy="0"/>
        </a:xfrm>
      </p:grpSpPr>
      <p:sp>
        <p:nvSpPr>
          <p:cNvPr id="7" name="Picture Placeholder 8"/>
          <p:cNvSpPr>
            <a:spLocks noGrp="1"/>
          </p:cNvSpPr>
          <p:nvPr>
            <p:ph type="pic" sz="quarter" idx="17"/>
          </p:nvPr>
        </p:nvSpPr>
        <p:spPr>
          <a:xfrm>
            <a:off x="0" y="0"/>
            <a:ext cx="6095999" cy="6858000"/>
          </a:xfrm>
          <a:prstGeom prst="rect">
            <a:avLst/>
          </a:prstGeom>
        </p:spPr>
        <p:txBody>
          <a:bodyPr anchor="ctr"/>
          <a:lstStyle>
            <a:lvl1pPr marL="0" indent="0" algn="ctr">
              <a:buNone/>
              <a:defRPr sz="2400">
                <a:solidFill>
                  <a:schemeClr val="accent1"/>
                </a:solidFill>
              </a:defRPr>
            </a:lvl1pPr>
          </a:lstStyle>
          <a:p>
            <a:r>
              <a:rPr lang="en-US"/>
              <a:t>Click icon to add picture</a:t>
            </a:r>
          </a:p>
        </p:txBody>
      </p:sp>
      <p:sp>
        <p:nvSpPr>
          <p:cNvPr id="9" name="Content Placeholder 2"/>
          <p:cNvSpPr>
            <a:spLocks noGrp="1"/>
          </p:cNvSpPr>
          <p:nvPr>
            <p:ph sz="half" idx="18"/>
          </p:nvPr>
        </p:nvSpPr>
        <p:spPr bwMode="gray">
          <a:xfrm>
            <a:off x="6858200" y="1307592"/>
            <a:ext cx="4573191" cy="4788408"/>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000">
                <a:solidFill>
                  <a:schemeClr val="bg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bg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bg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28"/>
          <p:cNvSpPr>
            <a:spLocks noGrp="1"/>
          </p:cNvSpPr>
          <p:nvPr>
            <p:ph type="title" hasCustomPrompt="1"/>
          </p:nvPr>
        </p:nvSpPr>
        <p:spPr bwMode="gray">
          <a:xfrm>
            <a:off x="6858199" y="442528"/>
            <a:ext cx="4573192" cy="418576"/>
          </a:xfrm>
          <a:prstGeom prst="rect">
            <a:avLst/>
          </a:prstGeom>
        </p:spPr>
        <p:txBody>
          <a:bodyPr wrap="square" lIns="0" tIns="0" rIns="0" bIns="0" anchor="t" anchorCtr="0">
            <a:sp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title</a:t>
            </a:r>
          </a:p>
        </p:txBody>
      </p:sp>
      <p:sp>
        <p:nvSpPr>
          <p:cNvPr id="2" name="Slide Number Placeholder 4">
            <a:extLst>
              <a:ext uri="{FF2B5EF4-FFF2-40B4-BE49-F238E27FC236}">
                <a16:creationId xmlns:a16="http://schemas.microsoft.com/office/drawing/2014/main" id="{BDA970C0-B8E0-6C7E-C2A9-67063B69B081}"/>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140527315"/>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9" cy="418576"/>
          </a:xfrm>
          <a:prstGeom prst="rect">
            <a:avLst/>
          </a:prstGeom>
        </p:spPr>
        <p:txBody>
          <a:bodyPr wrap="square" lIns="0" tIns="0" rIns="0" bIns="0" anchor="t" anchorCtr="0">
            <a:sp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9" name="Chart Placeholder 2"/>
          <p:cNvSpPr>
            <a:spLocks noGrp="1"/>
          </p:cNvSpPr>
          <p:nvPr>
            <p:ph type="chart" sz="quarter" idx="10" hasCustomPrompt="1"/>
          </p:nvPr>
        </p:nvSpPr>
        <p:spPr bwMode="gray">
          <a:xfrm>
            <a:off x="760612" y="1524000"/>
            <a:ext cx="10670779" cy="4572000"/>
          </a:xfrm>
          <a:prstGeom prst="rect">
            <a:avLst/>
          </a:prstGeom>
        </p:spPr>
        <p:txBody>
          <a:bodyPr lIns="121899" tIns="853291" rIns="121899" bIns="60949" anchor="ctr" anchorCtr="0"/>
          <a:lstStyle>
            <a:lvl1pPr marL="0" indent="0" algn="ctr">
              <a:buFontTx/>
              <a:buNone/>
              <a:defRPr sz="2400" baseline="0">
                <a:solidFill>
                  <a:schemeClr val="bg2"/>
                </a:solidFill>
              </a:defRPr>
            </a:lvl1pPr>
          </a:lstStyle>
          <a:p>
            <a:r>
              <a:rPr lang="en-US"/>
              <a:t>Click icon to create chart</a:t>
            </a:r>
          </a:p>
        </p:txBody>
      </p:sp>
      <p:sp>
        <p:nvSpPr>
          <p:cNvPr id="2" name="Slide Number Placeholder 1">
            <a:extLst>
              <a:ext uri="{FF2B5EF4-FFF2-40B4-BE49-F238E27FC236}">
                <a16:creationId xmlns:a16="http://schemas.microsoft.com/office/drawing/2014/main" id="{BBE9C038-E754-006F-B382-D714EB949571}"/>
              </a:ext>
            </a:extLst>
          </p:cNvPr>
          <p:cNvSpPr>
            <a:spLocks noGrp="1"/>
          </p:cNvSpPr>
          <p:nvPr>
            <p:ph type="sldNum" sz="quarter" idx="11"/>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1838969166"/>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rt Slide_Black">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9" name="Chart Placeholder 2"/>
          <p:cNvSpPr>
            <a:spLocks noGrp="1"/>
          </p:cNvSpPr>
          <p:nvPr>
            <p:ph type="chart" sz="quarter" idx="10" hasCustomPrompt="1"/>
          </p:nvPr>
        </p:nvSpPr>
        <p:spPr bwMode="gray">
          <a:xfrm>
            <a:off x="760612" y="1524000"/>
            <a:ext cx="10670779" cy="4572001"/>
          </a:xfrm>
          <a:prstGeom prst="rect">
            <a:avLst/>
          </a:prstGeom>
        </p:spPr>
        <p:txBody>
          <a:bodyPr lIns="121899" tIns="853291" rIns="121899" bIns="60949" anchor="ctr" anchorCtr="0"/>
          <a:lstStyle>
            <a:lvl1pPr marL="0" indent="0" algn="ctr">
              <a:buFontTx/>
              <a:buNone/>
              <a:defRPr sz="2400" baseline="0">
                <a:solidFill>
                  <a:schemeClr val="bg1"/>
                </a:solidFill>
              </a:defRPr>
            </a:lvl1pPr>
          </a:lstStyle>
          <a:p>
            <a:r>
              <a:rPr lang="en-US"/>
              <a:t>Click icon to create chart</a:t>
            </a:r>
          </a:p>
        </p:txBody>
      </p:sp>
      <p:sp>
        <p:nvSpPr>
          <p:cNvPr id="2" name="Slide Number Placeholder 1">
            <a:extLst>
              <a:ext uri="{FF2B5EF4-FFF2-40B4-BE49-F238E27FC236}">
                <a16:creationId xmlns:a16="http://schemas.microsoft.com/office/drawing/2014/main" id="{A1222CEF-FCD3-E840-7AE1-E900A5D59CF2}"/>
              </a:ext>
            </a:extLst>
          </p:cNvPr>
          <p:cNvSpPr>
            <a:spLocks noGrp="1"/>
          </p:cNvSpPr>
          <p:nvPr>
            <p:ph type="sldNum" sz="quarter" idx="11"/>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2937497009"/>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Subtitle Only">
    <p:bg>
      <p:bgPr>
        <a:solidFill>
          <a:schemeClr val="bg1"/>
        </a:solidFill>
        <a:effectLst/>
      </p:bgPr>
    </p:bg>
    <p:spTree>
      <p:nvGrpSpPr>
        <p:cNvPr id="1" name=""/>
        <p:cNvGrpSpPr/>
        <p:nvPr/>
      </p:nvGrpSpPr>
      <p:grpSpPr>
        <a:xfrm>
          <a:off x="0" y="0"/>
          <a:ext cx="0" cy="0"/>
          <a:chOff x="0" y="0"/>
          <a:chExt cx="0" cy="0"/>
        </a:xfrm>
      </p:grpSpPr>
      <p:sp>
        <p:nvSpPr>
          <p:cNvPr id="23" name="Text Placeholder 2"/>
          <p:cNvSpPr>
            <a:spLocks noGrp="1"/>
          </p:cNvSpPr>
          <p:nvPr>
            <p:ph type="body" idx="10" hasCustomPrompt="1"/>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tx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C55B6443-4299-282C-565B-68E5F9702780}"/>
              </a:ext>
            </a:extLst>
          </p:cNvPr>
          <p:cNvSpPr>
            <a:spLocks noGrp="1"/>
          </p:cNvSpPr>
          <p:nvPr>
            <p:ph type="sldNum" sz="quarter" idx="11"/>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320738913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2E9409-35B8-57EB-2941-154C5CA02C34}"/>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pic>
        <p:nvPicPr>
          <p:cNvPr id="3" name="Picture 2" descr="A logo with text on it&#10;&#10;AI-generated content may be incorrect.">
            <a:extLst>
              <a:ext uri="{FF2B5EF4-FFF2-40B4-BE49-F238E27FC236}">
                <a16:creationId xmlns:a16="http://schemas.microsoft.com/office/drawing/2014/main" id="{689EEA12-87FB-B94A-0DAB-8B448EDF1229}"/>
              </a:ext>
            </a:extLst>
          </p:cNvPr>
          <p:cNvPicPr>
            <a:picLocks noChangeAspect="1"/>
          </p:cNvPicPr>
          <p:nvPr userDrawn="1"/>
        </p:nvPicPr>
        <p:blipFill>
          <a:blip r:embed="rId2"/>
          <a:srcRect l="7194" t="19638" r="6561" b="14268"/>
          <a:stretch/>
        </p:blipFill>
        <p:spPr>
          <a:xfrm>
            <a:off x="10233891" y="6103375"/>
            <a:ext cx="1299100" cy="624193"/>
          </a:xfrm>
          <a:prstGeom prst="rect">
            <a:avLst/>
          </a:prstGeom>
        </p:spPr>
      </p:pic>
    </p:spTree>
    <p:extLst>
      <p:ext uri="{BB962C8B-B14F-4D97-AF65-F5344CB8AC3E}">
        <p14:creationId xmlns:p14="http://schemas.microsoft.com/office/powerpoint/2010/main" val="2812788641"/>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Slide_Blac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40EA4A46-204F-7C4D-1008-3E3A20AB71A9}"/>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853603411"/>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pSp>
        <p:nvGrpSpPr>
          <p:cNvPr id="166" name="Group 165">
            <a:extLst>
              <a:ext uri="{FF2B5EF4-FFF2-40B4-BE49-F238E27FC236}">
                <a16:creationId xmlns:a16="http://schemas.microsoft.com/office/drawing/2014/main" id="{45DF6D6F-9C39-7C31-64D4-4BCE9C9CA5D6}"/>
              </a:ext>
            </a:extLst>
          </p:cNvPr>
          <p:cNvGrpSpPr/>
          <p:nvPr userDrawn="1"/>
        </p:nvGrpSpPr>
        <p:grpSpPr>
          <a:xfrm>
            <a:off x="1539348" y="3561908"/>
            <a:ext cx="7853422" cy="1769127"/>
            <a:chOff x="541049" y="2649538"/>
            <a:chExt cx="9285724" cy="2092325"/>
          </a:xfrm>
          <a:solidFill>
            <a:srgbClr val="E1251B"/>
          </a:solidFill>
        </p:grpSpPr>
        <p:sp>
          <p:nvSpPr>
            <p:cNvPr id="167" name="Freeform 5">
              <a:extLst>
                <a:ext uri="{FF2B5EF4-FFF2-40B4-BE49-F238E27FC236}">
                  <a16:creationId xmlns:a16="http://schemas.microsoft.com/office/drawing/2014/main" id="{E109AFA1-C190-E6CF-D819-5DDBF44B5ED2}"/>
                </a:ext>
              </a:extLst>
            </p:cNvPr>
            <p:cNvSpPr>
              <a:spLocks/>
            </p:cNvSpPr>
            <p:nvPr userDrawn="1"/>
          </p:nvSpPr>
          <p:spPr bwMode="auto">
            <a:xfrm>
              <a:off x="541049" y="2809876"/>
              <a:ext cx="963613" cy="1928813"/>
            </a:xfrm>
            <a:custGeom>
              <a:avLst/>
              <a:gdLst>
                <a:gd name="T0" fmla="*/ 57 w 301"/>
                <a:gd name="T1" fmla="*/ 458 h 600"/>
                <a:gd name="T2" fmla="*/ 57 w 301"/>
                <a:gd name="T3" fmla="*/ 235 h 600"/>
                <a:gd name="T4" fmla="*/ 0 w 301"/>
                <a:gd name="T5" fmla="*/ 235 h 600"/>
                <a:gd name="T6" fmla="*/ 0 w 301"/>
                <a:gd name="T7" fmla="*/ 121 h 600"/>
                <a:gd name="T8" fmla="*/ 57 w 301"/>
                <a:gd name="T9" fmla="*/ 121 h 600"/>
                <a:gd name="T10" fmla="*/ 57 w 301"/>
                <a:gd name="T11" fmla="*/ 0 h 600"/>
                <a:gd name="T12" fmla="*/ 190 w 301"/>
                <a:gd name="T13" fmla="*/ 0 h 600"/>
                <a:gd name="T14" fmla="*/ 190 w 301"/>
                <a:gd name="T15" fmla="*/ 121 h 600"/>
                <a:gd name="T16" fmla="*/ 301 w 301"/>
                <a:gd name="T17" fmla="*/ 121 h 600"/>
                <a:gd name="T18" fmla="*/ 301 w 301"/>
                <a:gd name="T19" fmla="*/ 235 h 600"/>
                <a:gd name="T20" fmla="*/ 190 w 301"/>
                <a:gd name="T21" fmla="*/ 235 h 600"/>
                <a:gd name="T22" fmla="*/ 190 w 301"/>
                <a:gd name="T23" fmla="*/ 436 h 600"/>
                <a:gd name="T24" fmla="*/ 233 w 301"/>
                <a:gd name="T25" fmla="*/ 482 h 600"/>
                <a:gd name="T26" fmla="*/ 299 w 301"/>
                <a:gd name="T27" fmla="*/ 465 h 600"/>
                <a:gd name="T28" fmla="*/ 299 w 301"/>
                <a:gd name="T29" fmla="*/ 573 h 600"/>
                <a:gd name="T30" fmla="*/ 194 w 301"/>
                <a:gd name="T31" fmla="*/ 600 h 600"/>
                <a:gd name="T32" fmla="*/ 57 w 301"/>
                <a:gd name="T33" fmla="*/ 45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600">
                  <a:moveTo>
                    <a:pt x="57" y="458"/>
                  </a:moveTo>
                  <a:cubicBezTo>
                    <a:pt x="57" y="235"/>
                    <a:pt x="57" y="235"/>
                    <a:pt x="57" y="235"/>
                  </a:cubicBezTo>
                  <a:cubicBezTo>
                    <a:pt x="0" y="235"/>
                    <a:pt x="0" y="235"/>
                    <a:pt x="0" y="235"/>
                  </a:cubicBezTo>
                  <a:cubicBezTo>
                    <a:pt x="0" y="121"/>
                    <a:pt x="0" y="121"/>
                    <a:pt x="0" y="121"/>
                  </a:cubicBezTo>
                  <a:cubicBezTo>
                    <a:pt x="57" y="121"/>
                    <a:pt x="57" y="121"/>
                    <a:pt x="57" y="121"/>
                  </a:cubicBezTo>
                  <a:cubicBezTo>
                    <a:pt x="57" y="0"/>
                    <a:pt x="57" y="0"/>
                    <a:pt x="57" y="0"/>
                  </a:cubicBezTo>
                  <a:cubicBezTo>
                    <a:pt x="190" y="0"/>
                    <a:pt x="190" y="0"/>
                    <a:pt x="190" y="0"/>
                  </a:cubicBezTo>
                  <a:cubicBezTo>
                    <a:pt x="190" y="121"/>
                    <a:pt x="190" y="121"/>
                    <a:pt x="190" y="121"/>
                  </a:cubicBezTo>
                  <a:cubicBezTo>
                    <a:pt x="301" y="121"/>
                    <a:pt x="301" y="121"/>
                    <a:pt x="301" y="121"/>
                  </a:cubicBezTo>
                  <a:cubicBezTo>
                    <a:pt x="301" y="235"/>
                    <a:pt x="301" y="235"/>
                    <a:pt x="301" y="235"/>
                  </a:cubicBezTo>
                  <a:cubicBezTo>
                    <a:pt x="190" y="235"/>
                    <a:pt x="190" y="235"/>
                    <a:pt x="190" y="235"/>
                  </a:cubicBezTo>
                  <a:cubicBezTo>
                    <a:pt x="190" y="436"/>
                    <a:pt x="190" y="436"/>
                    <a:pt x="190" y="436"/>
                  </a:cubicBezTo>
                  <a:cubicBezTo>
                    <a:pt x="190" y="467"/>
                    <a:pt x="203" y="482"/>
                    <a:pt x="233" y="482"/>
                  </a:cubicBezTo>
                  <a:cubicBezTo>
                    <a:pt x="258" y="482"/>
                    <a:pt x="280" y="476"/>
                    <a:pt x="299" y="465"/>
                  </a:cubicBezTo>
                  <a:cubicBezTo>
                    <a:pt x="299" y="573"/>
                    <a:pt x="299" y="573"/>
                    <a:pt x="299" y="573"/>
                  </a:cubicBezTo>
                  <a:cubicBezTo>
                    <a:pt x="271" y="590"/>
                    <a:pt x="239" y="600"/>
                    <a:pt x="194" y="600"/>
                  </a:cubicBezTo>
                  <a:cubicBezTo>
                    <a:pt x="112" y="600"/>
                    <a:pt x="57" y="568"/>
                    <a:pt x="57"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8" name="Freeform 6">
              <a:extLst>
                <a:ext uri="{FF2B5EF4-FFF2-40B4-BE49-F238E27FC236}">
                  <a16:creationId xmlns:a16="http://schemas.microsoft.com/office/drawing/2014/main" id="{1969BD4D-0C40-739F-FF6B-4214C2BEBC90}"/>
                </a:ext>
              </a:extLst>
            </p:cNvPr>
            <p:cNvSpPr>
              <a:spLocks/>
            </p:cNvSpPr>
            <p:nvPr userDrawn="1"/>
          </p:nvSpPr>
          <p:spPr bwMode="auto">
            <a:xfrm>
              <a:off x="1708151" y="2649538"/>
              <a:ext cx="1382713" cy="2063750"/>
            </a:xfrm>
            <a:custGeom>
              <a:avLst/>
              <a:gdLst>
                <a:gd name="T0" fmla="*/ 0 w 432"/>
                <a:gd name="T1" fmla="*/ 0 h 642"/>
                <a:gd name="T2" fmla="*/ 134 w 432"/>
                <a:gd name="T3" fmla="*/ 0 h 642"/>
                <a:gd name="T4" fmla="*/ 134 w 432"/>
                <a:gd name="T5" fmla="*/ 237 h 642"/>
                <a:gd name="T6" fmla="*/ 272 w 432"/>
                <a:gd name="T7" fmla="*/ 162 h 642"/>
                <a:gd name="T8" fmla="*/ 432 w 432"/>
                <a:gd name="T9" fmla="*/ 337 h 642"/>
                <a:gd name="T10" fmla="*/ 432 w 432"/>
                <a:gd name="T11" fmla="*/ 642 h 642"/>
                <a:gd name="T12" fmla="*/ 298 w 432"/>
                <a:gd name="T13" fmla="*/ 642 h 642"/>
                <a:gd name="T14" fmla="*/ 298 w 432"/>
                <a:gd name="T15" fmla="*/ 379 h 642"/>
                <a:gd name="T16" fmla="*/ 218 w 432"/>
                <a:gd name="T17" fmla="*/ 283 h 642"/>
                <a:gd name="T18" fmla="*/ 134 w 432"/>
                <a:gd name="T19" fmla="*/ 379 h 642"/>
                <a:gd name="T20" fmla="*/ 134 w 432"/>
                <a:gd name="T21" fmla="*/ 642 h 642"/>
                <a:gd name="T22" fmla="*/ 0 w 432"/>
                <a:gd name="T23" fmla="*/ 642 h 642"/>
                <a:gd name="T24" fmla="*/ 0 w 432"/>
                <a:gd name="T25"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642">
                  <a:moveTo>
                    <a:pt x="0" y="0"/>
                  </a:moveTo>
                  <a:cubicBezTo>
                    <a:pt x="134" y="0"/>
                    <a:pt x="134" y="0"/>
                    <a:pt x="134" y="0"/>
                  </a:cubicBezTo>
                  <a:cubicBezTo>
                    <a:pt x="134" y="237"/>
                    <a:pt x="134" y="237"/>
                    <a:pt x="134" y="237"/>
                  </a:cubicBezTo>
                  <a:cubicBezTo>
                    <a:pt x="165" y="198"/>
                    <a:pt x="204" y="162"/>
                    <a:pt x="272" y="162"/>
                  </a:cubicBezTo>
                  <a:cubicBezTo>
                    <a:pt x="373" y="162"/>
                    <a:pt x="432" y="229"/>
                    <a:pt x="432" y="337"/>
                  </a:cubicBezTo>
                  <a:cubicBezTo>
                    <a:pt x="432" y="642"/>
                    <a:pt x="432" y="642"/>
                    <a:pt x="432" y="642"/>
                  </a:cubicBezTo>
                  <a:cubicBezTo>
                    <a:pt x="298" y="642"/>
                    <a:pt x="298" y="642"/>
                    <a:pt x="298" y="642"/>
                  </a:cubicBezTo>
                  <a:cubicBezTo>
                    <a:pt x="298" y="379"/>
                    <a:pt x="298" y="379"/>
                    <a:pt x="298" y="379"/>
                  </a:cubicBezTo>
                  <a:cubicBezTo>
                    <a:pt x="298" y="316"/>
                    <a:pt x="269" y="283"/>
                    <a:pt x="218" y="283"/>
                  </a:cubicBezTo>
                  <a:cubicBezTo>
                    <a:pt x="166" y="283"/>
                    <a:pt x="134" y="316"/>
                    <a:pt x="134" y="379"/>
                  </a:cubicBezTo>
                  <a:cubicBezTo>
                    <a:pt x="134" y="642"/>
                    <a:pt x="134" y="642"/>
                    <a:pt x="134" y="642"/>
                  </a:cubicBezTo>
                  <a:cubicBezTo>
                    <a:pt x="0" y="642"/>
                    <a:pt x="0" y="642"/>
                    <a:pt x="0" y="64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9" name="Freeform 7">
              <a:extLst>
                <a:ext uri="{FF2B5EF4-FFF2-40B4-BE49-F238E27FC236}">
                  <a16:creationId xmlns:a16="http://schemas.microsoft.com/office/drawing/2014/main" id="{6DB7C37A-1FE6-9BFA-5E83-3EC0F79497F5}"/>
                </a:ext>
              </a:extLst>
            </p:cNvPr>
            <p:cNvSpPr>
              <a:spLocks noEditPoints="1"/>
            </p:cNvSpPr>
            <p:nvPr userDrawn="1"/>
          </p:nvSpPr>
          <p:spPr bwMode="auto">
            <a:xfrm>
              <a:off x="3261304" y="3179763"/>
              <a:ext cx="1390650" cy="1562100"/>
            </a:xfrm>
            <a:custGeom>
              <a:avLst/>
              <a:gdLst>
                <a:gd name="T0" fmla="*/ 0 w 434"/>
                <a:gd name="T1" fmla="*/ 342 h 486"/>
                <a:gd name="T2" fmla="*/ 0 w 434"/>
                <a:gd name="T3" fmla="*/ 340 h 486"/>
                <a:gd name="T4" fmla="*/ 190 w 434"/>
                <a:gd name="T5" fmla="*/ 189 h 486"/>
                <a:gd name="T6" fmla="*/ 305 w 434"/>
                <a:gd name="T7" fmla="*/ 209 h 486"/>
                <a:gd name="T8" fmla="*/ 305 w 434"/>
                <a:gd name="T9" fmla="*/ 201 h 486"/>
                <a:gd name="T10" fmla="*/ 204 w 434"/>
                <a:gd name="T11" fmla="*/ 115 h 486"/>
                <a:gd name="T12" fmla="*/ 74 w 434"/>
                <a:gd name="T13" fmla="*/ 140 h 486"/>
                <a:gd name="T14" fmla="*/ 40 w 434"/>
                <a:gd name="T15" fmla="*/ 38 h 486"/>
                <a:gd name="T16" fmla="*/ 223 w 434"/>
                <a:gd name="T17" fmla="*/ 0 h 486"/>
                <a:gd name="T18" fmla="*/ 383 w 434"/>
                <a:gd name="T19" fmla="*/ 53 h 486"/>
                <a:gd name="T20" fmla="*/ 434 w 434"/>
                <a:gd name="T21" fmla="*/ 204 h 486"/>
                <a:gd name="T22" fmla="*/ 434 w 434"/>
                <a:gd name="T23" fmla="*/ 477 h 486"/>
                <a:gd name="T24" fmla="*/ 304 w 434"/>
                <a:gd name="T25" fmla="*/ 477 h 486"/>
                <a:gd name="T26" fmla="*/ 304 w 434"/>
                <a:gd name="T27" fmla="*/ 426 h 486"/>
                <a:gd name="T28" fmla="*/ 162 w 434"/>
                <a:gd name="T29" fmla="*/ 486 h 486"/>
                <a:gd name="T30" fmla="*/ 0 w 434"/>
                <a:gd name="T31" fmla="*/ 342 h 486"/>
                <a:gd name="T32" fmla="*/ 307 w 434"/>
                <a:gd name="T33" fmla="*/ 311 h 486"/>
                <a:gd name="T34" fmla="*/ 307 w 434"/>
                <a:gd name="T35" fmla="*/ 287 h 486"/>
                <a:gd name="T36" fmla="*/ 222 w 434"/>
                <a:gd name="T37" fmla="*/ 270 h 486"/>
                <a:gd name="T38" fmla="*/ 129 w 434"/>
                <a:gd name="T39" fmla="*/ 335 h 486"/>
                <a:gd name="T40" fmla="*/ 129 w 434"/>
                <a:gd name="T41" fmla="*/ 336 h 486"/>
                <a:gd name="T42" fmla="*/ 202 w 434"/>
                <a:gd name="T43" fmla="*/ 394 h 486"/>
                <a:gd name="T44" fmla="*/ 307 w 434"/>
                <a:gd name="T45" fmla="*/ 31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4" h="486">
                  <a:moveTo>
                    <a:pt x="0" y="342"/>
                  </a:moveTo>
                  <a:cubicBezTo>
                    <a:pt x="0" y="340"/>
                    <a:pt x="0" y="340"/>
                    <a:pt x="0" y="340"/>
                  </a:cubicBezTo>
                  <a:cubicBezTo>
                    <a:pt x="0" y="237"/>
                    <a:pt x="78" y="189"/>
                    <a:pt x="190" y="189"/>
                  </a:cubicBezTo>
                  <a:cubicBezTo>
                    <a:pt x="237" y="189"/>
                    <a:pt x="272" y="197"/>
                    <a:pt x="305" y="209"/>
                  </a:cubicBezTo>
                  <a:cubicBezTo>
                    <a:pt x="305" y="201"/>
                    <a:pt x="305" y="201"/>
                    <a:pt x="305" y="201"/>
                  </a:cubicBezTo>
                  <a:cubicBezTo>
                    <a:pt x="305" y="145"/>
                    <a:pt x="271" y="115"/>
                    <a:pt x="204" y="115"/>
                  </a:cubicBezTo>
                  <a:cubicBezTo>
                    <a:pt x="153" y="115"/>
                    <a:pt x="117" y="124"/>
                    <a:pt x="74" y="140"/>
                  </a:cubicBezTo>
                  <a:cubicBezTo>
                    <a:pt x="40" y="38"/>
                    <a:pt x="40" y="38"/>
                    <a:pt x="40" y="38"/>
                  </a:cubicBezTo>
                  <a:cubicBezTo>
                    <a:pt x="92" y="15"/>
                    <a:pt x="143" y="0"/>
                    <a:pt x="223" y="0"/>
                  </a:cubicBezTo>
                  <a:cubicBezTo>
                    <a:pt x="296" y="0"/>
                    <a:pt x="349" y="20"/>
                    <a:pt x="383" y="53"/>
                  </a:cubicBezTo>
                  <a:cubicBezTo>
                    <a:pt x="418" y="88"/>
                    <a:pt x="434" y="140"/>
                    <a:pt x="434" y="204"/>
                  </a:cubicBezTo>
                  <a:cubicBezTo>
                    <a:pt x="434" y="477"/>
                    <a:pt x="434" y="477"/>
                    <a:pt x="434" y="477"/>
                  </a:cubicBezTo>
                  <a:cubicBezTo>
                    <a:pt x="304" y="477"/>
                    <a:pt x="304" y="477"/>
                    <a:pt x="304" y="477"/>
                  </a:cubicBezTo>
                  <a:cubicBezTo>
                    <a:pt x="304" y="426"/>
                    <a:pt x="304" y="426"/>
                    <a:pt x="304" y="426"/>
                  </a:cubicBezTo>
                  <a:cubicBezTo>
                    <a:pt x="272" y="462"/>
                    <a:pt x="227" y="486"/>
                    <a:pt x="162" y="486"/>
                  </a:cubicBezTo>
                  <a:cubicBezTo>
                    <a:pt x="73" y="486"/>
                    <a:pt x="0" y="435"/>
                    <a:pt x="0" y="342"/>
                  </a:cubicBezTo>
                  <a:close/>
                  <a:moveTo>
                    <a:pt x="307" y="311"/>
                  </a:moveTo>
                  <a:cubicBezTo>
                    <a:pt x="307" y="287"/>
                    <a:pt x="307" y="287"/>
                    <a:pt x="307" y="287"/>
                  </a:cubicBezTo>
                  <a:cubicBezTo>
                    <a:pt x="284" y="277"/>
                    <a:pt x="254" y="270"/>
                    <a:pt x="222" y="270"/>
                  </a:cubicBezTo>
                  <a:cubicBezTo>
                    <a:pt x="164" y="270"/>
                    <a:pt x="129" y="292"/>
                    <a:pt x="129" y="335"/>
                  </a:cubicBezTo>
                  <a:cubicBezTo>
                    <a:pt x="129" y="336"/>
                    <a:pt x="129" y="336"/>
                    <a:pt x="129" y="336"/>
                  </a:cubicBezTo>
                  <a:cubicBezTo>
                    <a:pt x="129" y="372"/>
                    <a:pt x="159" y="394"/>
                    <a:pt x="202" y="394"/>
                  </a:cubicBezTo>
                  <a:cubicBezTo>
                    <a:pt x="265" y="394"/>
                    <a:pt x="307" y="359"/>
                    <a:pt x="307"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0" name="Freeform 8">
              <a:extLst>
                <a:ext uri="{FF2B5EF4-FFF2-40B4-BE49-F238E27FC236}">
                  <a16:creationId xmlns:a16="http://schemas.microsoft.com/office/drawing/2014/main" id="{3AEA624F-19C6-31CA-5CD9-7E42ED68DA56}"/>
                </a:ext>
              </a:extLst>
            </p:cNvPr>
            <p:cNvSpPr>
              <a:spLocks/>
            </p:cNvSpPr>
            <p:nvPr userDrawn="1"/>
          </p:nvSpPr>
          <p:spPr bwMode="auto">
            <a:xfrm>
              <a:off x="4859916" y="3170238"/>
              <a:ext cx="1384300" cy="1543050"/>
            </a:xfrm>
            <a:custGeom>
              <a:avLst/>
              <a:gdLst>
                <a:gd name="T0" fmla="*/ 0 w 432"/>
                <a:gd name="T1" fmla="*/ 9 h 480"/>
                <a:gd name="T2" fmla="*/ 133 w 432"/>
                <a:gd name="T3" fmla="*/ 9 h 480"/>
                <a:gd name="T4" fmla="*/ 133 w 432"/>
                <a:gd name="T5" fmla="*/ 75 h 480"/>
                <a:gd name="T6" fmla="*/ 272 w 432"/>
                <a:gd name="T7" fmla="*/ 0 h 480"/>
                <a:gd name="T8" fmla="*/ 432 w 432"/>
                <a:gd name="T9" fmla="*/ 175 h 480"/>
                <a:gd name="T10" fmla="*/ 432 w 432"/>
                <a:gd name="T11" fmla="*/ 480 h 480"/>
                <a:gd name="T12" fmla="*/ 298 w 432"/>
                <a:gd name="T13" fmla="*/ 480 h 480"/>
                <a:gd name="T14" fmla="*/ 298 w 432"/>
                <a:gd name="T15" fmla="*/ 217 h 480"/>
                <a:gd name="T16" fmla="*/ 217 w 432"/>
                <a:gd name="T17" fmla="*/ 121 h 480"/>
                <a:gd name="T18" fmla="*/ 133 w 432"/>
                <a:gd name="T19" fmla="*/ 217 h 480"/>
                <a:gd name="T20" fmla="*/ 133 w 432"/>
                <a:gd name="T21" fmla="*/ 480 h 480"/>
                <a:gd name="T22" fmla="*/ 0 w 432"/>
                <a:gd name="T23" fmla="*/ 480 h 480"/>
                <a:gd name="T24" fmla="*/ 0 w 432"/>
                <a:gd name="T25" fmla="*/ 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480">
                  <a:moveTo>
                    <a:pt x="0" y="9"/>
                  </a:moveTo>
                  <a:cubicBezTo>
                    <a:pt x="133" y="9"/>
                    <a:pt x="133" y="9"/>
                    <a:pt x="133" y="9"/>
                  </a:cubicBezTo>
                  <a:cubicBezTo>
                    <a:pt x="133" y="75"/>
                    <a:pt x="133" y="75"/>
                    <a:pt x="133" y="75"/>
                  </a:cubicBezTo>
                  <a:cubicBezTo>
                    <a:pt x="164" y="36"/>
                    <a:pt x="204" y="0"/>
                    <a:pt x="272" y="0"/>
                  </a:cubicBezTo>
                  <a:cubicBezTo>
                    <a:pt x="373" y="0"/>
                    <a:pt x="432" y="67"/>
                    <a:pt x="432" y="175"/>
                  </a:cubicBezTo>
                  <a:cubicBezTo>
                    <a:pt x="432" y="480"/>
                    <a:pt x="432" y="480"/>
                    <a:pt x="432" y="480"/>
                  </a:cubicBezTo>
                  <a:cubicBezTo>
                    <a:pt x="298" y="480"/>
                    <a:pt x="298" y="480"/>
                    <a:pt x="298" y="480"/>
                  </a:cubicBezTo>
                  <a:cubicBezTo>
                    <a:pt x="298" y="217"/>
                    <a:pt x="298" y="217"/>
                    <a:pt x="298" y="217"/>
                  </a:cubicBezTo>
                  <a:cubicBezTo>
                    <a:pt x="298" y="154"/>
                    <a:pt x="268" y="121"/>
                    <a:pt x="217" y="121"/>
                  </a:cubicBezTo>
                  <a:cubicBezTo>
                    <a:pt x="166" y="121"/>
                    <a:pt x="133" y="154"/>
                    <a:pt x="133" y="217"/>
                  </a:cubicBezTo>
                  <a:cubicBezTo>
                    <a:pt x="133" y="480"/>
                    <a:pt x="133" y="480"/>
                    <a:pt x="133" y="480"/>
                  </a:cubicBezTo>
                  <a:cubicBezTo>
                    <a:pt x="0" y="480"/>
                    <a:pt x="0" y="480"/>
                    <a:pt x="0" y="480"/>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1" name="Freeform 9">
              <a:extLst>
                <a:ext uri="{FF2B5EF4-FFF2-40B4-BE49-F238E27FC236}">
                  <a16:creationId xmlns:a16="http://schemas.microsoft.com/office/drawing/2014/main" id="{ED142D15-3F97-1719-8D74-37D26D1CAA33}"/>
                </a:ext>
              </a:extLst>
            </p:cNvPr>
            <p:cNvSpPr>
              <a:spLocks/>
            </p:cNvSpPr>
            <p:nvPr userDrawn="1"/>
          </p:nvSpPr>
          <p:spPr bwMode="auto">
            <a:xfrm>
              <a:off x="6436593" y="2649538"/>
              <a:ext cx="1460500" cy="2063750"/>
            </a:xfrm>
            <a:custGeom>
              <a:avLst/>
              <a:gdLst>
                <a:gd name="T0" fmla="*/ 0 w 920"/>
                <a:gd name="T1" fmla="*/ 0 h 1300"/>
                <a:gd name="T2" fmla="*/ 270 w 920"/>
                <a:gd name="T3" fmla="*/ 0 h 1300"/>
                <a:gd name="T4" fmla="*/ 270 w 920"/>
                <a:gd name="T5" fmla="*/ 692 h 1300"/>
                <a:gd name="T6" fmla="*/ 585 w 920"/>
                <a:gd name="T7" fmla="*/ 346 h 1300"/>
                <a:gd name="T8" fmla="*/ 908 w 920"/>
                <a:gd name="T9" fmla="*/ 346 h 1300"/>
                <a:gd name="T10" fmla="*/ 547 w 920"/>
                <a:gd name="T11" fmla="*/ 721 h 1300"/>
                <a:gd name="T12" fmla="*/ 920 w 920"/>
                <a:gd name="T13" fmla="*/ 1300 h 1300"/>
                <a:gd name="T14" fmla="*/ 609 w 920"/>
                <a:gd name="T15" fmla="*/ 1300 h 1300"/>
                <a:gd name="T16" fmla="*/ 365 w 920"/>
                <a:gd name="T17" fmla="*/ 909 h 1300"/>
                <a:gd name="T18" fmla="*/ 270 w 920"/>
                <a:gd name="T19" fmla="*/ 1010 h 1300"/>
                <a:gd name="T20" fmla="*/ 270 w 920"/>
                <a:gd name="T21" fmla="*/ 1300 h 1300"/>
                <a:gd name="T22" fmla="*/ 0 w 920"/>
                <a:gd name="T23" fmla="*/ 1300 h 1300"/>
                <a:gd name="T24" fmla="*/ 0 w 920"/>
                <a:gd name="T2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0" h="1300">
                  <a:moveTo>
                    <a:pt x="0" y="0"/>
                  </a:moveTo>
                  <a:lnTo>
                    <a:pt x="270" y="0"/>
                  </a:lnTo>
                  <a:lnTo>
                    <a:pt x="270" y="692"/>
                  </a:lnTo>
                  <a:lnTo>
                    <a:pt x="585" y="346"/>
                  </a:lnTo>
                  <a:lnTo>
                    <a:pt x="908" y="346"/>
                  </a:lnTo>
                  <a:lnTo>
                    <a:pt x="547" y="721"/>
                  </a:lnTo>
                  <a:lnTo>
                    <a:pt x="920" y="1300"/>
                  </a:lnTo>
                  <a:lnTo>
                    <a:pt x="609" y="1300"/>
                  </a:lnTo>
                  <a:lnTo>
                    <a:pt x="365" y="909"/>
                  </a:lnTo>
                  <a:lnTo>
                    <a:pt x="270" y="1010"/>
                  </a:lnTo>
                  <a:lnTo>
                    <a:pt x="270" y="1300"/>
                  </a:lnTo>
                  <a:lnTo>
                    <a:pt x="0" y="13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2" name="Freeform 10">
              <a:extLst>
                <a:ext uri="{FF2B5EF4-FFF2-40B4-BE49-F238E27FC236}">
                  <a16:creationId xmlns:a16="http://schemas.microsoft.com/office/drawing/2014/main" id="{6FEBB0B2-4586-05AB-B4FE-055E54F117A8}"/>
                </a:ext>
              </a:extLst>
            </p:cNvPr>
            <p:cNvSpPr>
              <a:spLocks/>
            </p:cNvSpPr>
            <p:nvPr userDrawn="1"/>
          </p:nvSpPr>
          <p:spPr bwMode="auto">
            <a:xfrm>
              <a:off x="7919896" y="3173413"/>
              <a:ext cx="1227138" cy="1568450"/>
            </a:xfrm>
            <a:custGeom>
              <a:avLst/>
              <a:gdLst>
                <a:gd name="T0" fmla="*/ 0 w 383"/>
                <a:gd name="T1" fmla="*/ 417 h 488"/>
                <a:gd name="T2" fmla="*/ 57 w 383"/>
                <a:gd name="T3" fmla="*/ 329 h 488"/>
                <a:gd name="T4" fmla="*/ 206 w 383"/>
                <a:gd name="T5" fmla="*/ 385 h 488"/>
                <a:gd name="T6" fmla="*/ 262 w 383"/>
                <a:gd name="T7" fmla="*/ 350 h 488"/>
                <a:gd name="T8" fmla="*/ 262 w 383"/>
                <a:gd name="T9" fmla="*/ 348 h 488"/>
                <a:gd name="T10" fmla="*/ 165 w 383"/>
                <a:gd name="T11" fmla="*/ 294 h 488"/>
                <a:gd name="T12" fmla="*/ 24 w 383"/>
                <a:gd name="T13" fmla="*/ 152 h 488"/>
                <a:gd name="T14" fmla="*/ 24 w 383"/>
                <a:gd name="T15" fmla="*/ 150 h 488"/>
                <a:gd name="T16" fmla="*/ 196 w 383"/>
                <a:gd name="T17" fmla="*/ 0 h 488"/>
                <a:gd name="T18" fmla="*/ 372 w 383"/>
                <a:gd name="T19" fmla="*/ 55 h 488"/>
                <a:gd name="T20" fmla="*/ 321 w 383"/>
                <a:gd name="T21" fmla="*/ 147 h 488"/>
                <a:gd name="T22" fmla="*/ 194 w 383"/>
                <a:gd name="T23" fmla="*/ 103 h 488"/>
                <a:gd name="T24" fmla="*/ 144 w 383"/>
                <a:gd name="T25" fmla="*/ 136 h 488"/>
                <a:gd name="T26" fmla="*/ 144 w 383"/>
                <a:gd name="T27" fmla="*/ 138 h 488"/>
                <a:gd name="T28" fmla="*/ 240 w 383"/>
                <a:gd name="T29" fmla="*/ 194 h 488"/>
                <a:gd name="T30" fmla="*/ 383 w 383"/>
                <a:gd name="T31" fmla="*/ 334 h 488"/>
                <a:gd name="T32" fmla="*/ 383 w 383"/>
                <a:gd name="T33" fmla="*/ 336 h 488"/>
                <a:gd name="T34" fmla="*/ 203 w 383"/>
                <a:gd name="T35" fmla="*/ 488 h 488"/>
                <a:gd name="T36" fmla="*/ 0 w 383"/>
                <a:gd name="T37" fmla="*/ 41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3" h="488">
                  <a:moveTo>
                    <a:pt x="0" y="417"/>
                  </a:moveTo>
                  <a:cubicBezTo>
                    <a:pt x="57" y="329"/>
                    <a:pt x="57" y="329"/>
                    <a:pt x="57" y="329"/>
                  </a:cubicBezTo>
                  <a:cubicBezTo>
                    <a:pt x="108" y="366"/>
                    <a:pt x="162" y="385"/>
                    <a:pt x="206" y="385"/>
                  </a:cubicBezTo>
                  <a:cubicBezTo>
                    <a:pt x="245" y="385"/>
                    <a:pt x="262" y="371"/>
                    <a:pt x="262" y="350"/>
                  </a:cubicBezTo>
                  <a:cubicBezTo>
                    <a:pt x="262" y="348"/>
                    <a:pt x="262" y="348"/>
                    <a:pt x="262" y="348"/>
                  </a:cubicBezTo>
                  <a:cubicBezTo>
                    <a:pt x="262" y="319"/>
                    <a:pt x="217" y="309"/>
                    <a:pt x="165" y="294"/>
                  </a:cubicBezTo>
                  <a:cubicBezTo>
                    <a:pt x="99" y="274"/>
                    <a:pt x="24" y="243"/>
                    <a:pt x="24" y="152"/>
                  </a:cubicBezTo>
                  <a:cubicBezTo>
                    <a:pt x="24" y="150"/>
                    <a:pt x="24" y="150"/>
                    <a:pt x="24" y="150"/>
                  </a:cubicBezTo>
                  <a:cubicBezTo>
                    <a:pt x="24" y="54"/>
                    <a:pt x="101" y="0"/>
                    <a:pt x="196" y="0"/>
                  </a:cubicBezTo>
                  <a:cubicBezTo>
                    <a:pt x="256" y="0"/>
                    <a:pt x="321" y="21"/>
                    <a:pt x="372" y="55"/>
                  </a:cubicBezTo>
                  <a:cubicBezTo>
                    <a:pt x="321" y="147"/>
                    <a:pt x="321" y="147"/>
                    <a:pt x="321" y="147"/>
                  </a:cubicBezTo>
                  <a:cubicBezTo>
                    <a:pt x="275" y="120"/>
                    <a:pt x="228" y="103"/>
                    <a:pt x="194" y="103"/>
                  </a:cubicBezTo>
                  <a:cubicBezTo>
                    <a:pt x="161" y="103"/>
                    <a:pt x="144" y="118"/>
                    <a:pt x="144" y="136"/>
                  </a:cubicBezTo>
                  <a:cubicBezTo>
                    <a:pt x="144" y="138"/>
                    <a:pt x="144" y="138"/>
                    <a:pt x="144" y="138"/>
                  </a:cubicBezTo>
                  <a:cubicBezTo>
                    <a:pt x="144" y="164"/>
                    <a:pt x="189" y="176"/>
                    <a:pt x="240" y="194"/>
                  </a:cubicBezTo>
                  <a:cubicBezTo>
                    <a:pt x="306" y="216"/>
                    <a:pt x="383" y="248"/>
                    <a:pt x="383" y="334"/>
                  </a:cubicBezTo>
                  <a:cubicBezTo>
                    <a:pt x="383" y="336"/>
                    <a:pt x="383" y="336"/>
                    <a:pt x="383" y="336"/>
                  </a:cubicBezTo>
                  <a:cubicBezTo>
                    <a:pt x="383" y="440"/>
                    <a:pt x="305" y="488"/>
                    <a:pt x="203" y="488"/>
                  </a:cubicBezTo>
                  <a:cubicBezTo>
                    <a:pt x="137" y="488"/>
                    <a:pt x="63" y="466"/>
                    <a:pt x="0"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3" name="Oval 11">
              <a:extLst>
                <a:ext uri="{FF2B5EF4-FFF2-40B4-BE49-F238E27FC236}">
                  <a16:creationId xmlns:a16="http://schemas.microsoft.com/office/drawing/2014/main" id="{70877F96-1F23-E1FC-71E9-01EE358F60FD}"/>
                </a:ext>
              </a:extLst>
            </p:cNvPr>
            <p:cNvSpPr>
              <a:spLocks noChangeArrowheads="1"/>
            </p:cNvSpPr>
            <p:nvPr userDrawn="1"/>
          </p:nvSpPr>
          <p:spPr bwMode="auto">
            <a:xfrm>
              <a:off x="9282260" y="4167188"/>
              <a:ext cx="544513" cy="546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76" name="Group 75">
            <a:extLst>
              <a:ext uri="{FF2B5EF4-FFF2-40B4-BE49-F238E27FC236}">
                <a16:creationId xmlns:a16="http://schemas.microsoft.com/office/drawing/2014/main" id="{04DB0252-2F51-9D54-5F87-47E8112037C5}"/>
              </a:ext>
            </a:extLst>
          </p:cNvPr>
          <p:cNvGrpSpPr/>
          <p:nvPr userDrawn="1"/>
        </p:nvGrpSpPr>
        <p:grpSpPr>
          <a:xfrm>
            <a:off x="9392771" y="936748"/>
            <a:ext cx="1966475" cy="1042086"/>
            <a:chOff x="4988072" y="501936"/>
            <a:chExt cx="1978802" cy="1051017"/>
          </a:xfrm>
          <a:solidFill>
            <a:srgbClr val="E1251B"/>
          </a:solidFill>
        </p:grpSpPr>
        <p:sp>
          <p:nvSpPr>
            <p:cNvPr id="85" name="Freeform 5">
              <a:extLst>
                <a:ext uri="{FF2B5EF4-FFF2-40B4-BE49-F238E27FC236}">
                  <a16:creationId xmlns:a16="http://schemas.microsoft.com/office/drawing/2014/main" id="{433FD598-576F-FFF0-672B-6A9B1AF51242}"/>
                </a:ext>
              </a:extLst>
            </p:cNvPr>
            <p:cNvSpPr>
              <a:spLocks/>
            </p:cNvSpPr>
            <p:nvPr userDrawn="1"/>
          </p:nvSpPr>
          <p:spPr bwMode="auto">
            <a:xfrm>
              <a:off x="5559016" y="501936"/>
              <a:ext cx="218094" cy="282813"/>
            </a:xfrm>
            <a:custGeom>
              <a:avLst/>
              <a:gdLst>
                <a:gd name="T0" fmla="*/ 0 w 502"/>
                <a:gd name="T1" fmla="*/ 550 h 651"/>
                <a:gd name="T2" fmla="*/ 83 w 502"/>
                <a:gd name="T3" fmla="*/ 451 h 651"/>
                <a:gd name="T4" fmla="*/ 272 w 502"/>
                <a:gd name="T5" fmla="*/ 528 h 651"/>
                <a:gd name="T6" fmla="*/ 363 w 502"/>
                <a:gd name="T7" fmla="*/ 469 h 651"/>
                <a:gd name="T8" fmla="*/ 363 w 502"/>
                <a:gd name="T9" fmla="*/ 467 h 651"/>
                <a:gd name="T10" fmla="*/ 236 w 502"/>
                <a:gd name="T11" fmla="*/ 386 h 651"/>
                <a:gd name="T12" fmla="*/ 26 w 502"/>
                <a:gd name="T13" fmla="*/ 192 h 651"/>
                <a:gd name="T14" fmla="*/ 26 w 502"/>
                <a:gd name="T15" fmla="*/ 191 h 651"/>
                <a:gd name="T16" fmla="*/ 247 w 502"/>
                <a:gd name="T17" fmla="*/ 0 h 651"/>
                <a:gd name="T18" fmla="*/ 483 w 502"/>
                <a:gd name="T19" fmla="*/ 80 h 651"/>
                <a:gd name="T20" fmla="*/ 410 w 502"/>
                <a:gd name="T21" fmla="*/ 185 h 651"/>
                <a:gd name="T22" fmla="*/ 246 w 502"/>
                <a:gd name="T23" fmla="*/ 123 h 651"/>
                <a:gd name="T24" fmla="*/ 164 w 502"/>
                <a:gd name="T25" fmla="*/ 178 h 651"/>
                <a:gd name="T26" fmla="*/ 164 w 502"/>
                <a:gd name="T27" fmla="*/ 180 h 651"/>
                <a:gd name="T28" fmla="*/ 301 w 502"/>
                <a:gd name="T29" fmla="*/ 263 h 651"/>
                <a:gd name="T30" fmla="*/ 502 w 502"/>
                <a:gd name="T31" fmla="*/ 453 h 651"/>
                <a:gd name="T32" fmla="*/ 502 w 502"/>
                <a:gd name="T33" fmla="*/ 455 h 651"/>
                <a:gd name="T34" fmla="*/ 269 w 502"/>
                <a:gd name="T35" fmla="*/ 651 h 651"/>
                <a:gd name="T36" fmla="*/ 0 w 502"/>
                <a:gd name="T37" fmla="*/ 5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651">
                  <a:moveTo>
                    <a:pt x="0" y="550"/>
                  </a:moveTo>
                  <a:cubicBezTo>
                    <a:pt x="83" y="451"/>
                    <a:pt x="83" y="451"/>
                    <a:pt x="83" y="451"/>
                  </a:cubicBezTo>
                  <a:cubicBezTo>
                    <a:pt x="140" y="498"/>
                    <a:pt x="200" y="528"/>
                    <a:pt x="272" y="528"/>
                  </a:cubicBezTo>
                  <a:cubicBezTo>
                    <a:pt x="329" y="528"/>
                    <a:pt x="363" y="506"/>
                    <a:pt x="363" y="469"/>
                  </a:cubicBezTo>
                  <a:cubicBezTo>
                    <a:pt x="363" y="467"/>
                    <a:pt x="363" y="467"/>
                    <a:pt x="363" y="467"/>
                  </a:cubicBezTo>
                  <a:cubicBezTo>
                    <a:pt x="363" y="431"/>
                    <a:pt x="342" y="413"/>
                    <a:pt x="236" y="386"/>
                  </a:cubicBezTo>
                  <a:cubicBezTo>
                    <a:pt x="108" y="354"/>
                    <a:pt x="26" y="318"/>
                    <a:pt x="26" y="192"/>
                  </a:cubicBezTo>
                  <a:cubicBezTo>
                    <a:pt x="26" y="191"/>
                    <a:pt x="26" y="191"/>
                    <a:pt x="26" y="191"/>
                  </a:cubicBezTo>
                  <a:cubicBezTo>
                    <a:pt x="26" y="76"/>
                    <a:pt x="118" y="0"/>
                    <a:pt x="247" y="0"/>
                  </a:cubicBezTo>
                  <a:cubicBezTo>
                    <a:pt x="340" y="0"/>
                    <a:pt x="419" y="29"/>
                    <a:pt x="483" y="80"/>
                  </a:cubicBezTo>
                  <a:cubicBezTo>
                    <a:pt x="410" y="185"/>
                    <a:pt x="410" y="185"/>
                    <a:pt x="410" y="185"/>
                  </a:cubicBezTo>
                  <a:cubicBezTo>
                    <a:pt x="354" y="146"/>
                    <a:pt x="299" y="123"/>
                    <a:pt x="246" y="123"/>
                  </a:cubicBezTo>
                  <a:cubicBezTo>
                    <a:pt x="192" y="123"/>
                    <a:pt x="164" y="147"/>
                    <a:pt x="164" y="178"/>
                  </a:cubicBezTo>
                  <a:cubicBezTo>
                    <a:pt x="164" y="180"/>
                    <a:pt x="164" y="180"/>
                    <a:pt x="164" y="180"/>
                  </a:cubicBezTo>
                  <a:cubicBezTo>
                    <a:pt x="164" y="221"/>
                    <a:pt x="191" y="235"/>
                    <a:pt x="301" y="263"/>
                  </a:cubicBezTo>
                  <a:cubicBezTo>
                    <a:pt x="429" y="297"/>
                    <a:pt x="502" y="343"/>
                    <a:pt x="502" y="453"/>
                  </a:cubicBezTo>
                  <a:cubicBezTo>
                    <a:pt x="502" y="455"/>
                    <a:pt x="502" y="455"/>
                    <a:pt x="502" y="455"/>
                  </a:cubicBezTo>
                  <a:cubicBezTo>
                    <a:pt x="502" y="581"/>
                    <a:pt x="406" y="651"/>
                    <a:pt x="269" y="651"/>
                  </a:cubicBezTo>
                  <a:cubicBezTo>
                    <a:pt x="173" y="651"/>
                    <a:pt x="76" y="618"/>
                    <a:pt x="0"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
              <a:extLst>
                <a:ext uri="{FF2B5EF4-FFF2-40B4-BE49-F238E27FC236}">
                  <a16:creationId xmlns:a16="http://schemas.microsoft.com/office/drawing/2014/main" id="{824AAD10-C96C-2D4A-15C2-1D354C7C691E}"/>
                </a:ext>
              </a:extLst>
            </p:cNvPr>
            <p:cNvSpPr>
              <a:spLocks/>
            </p:cNvSpPr>
            <p:nvPr userDrawn="1"/>
          </p:nvSpPr>
          <p:spPr bwMode="auto">
            <a:xfrm>
              <a:off x="5791295" y="566212"/>
              <a:ext cx="322264" cy="214547"/>
            </a:xfrm>
            <a:custGeom>
              <a:avLst/>
              <a:gdLst>
                <a:gd name="T0" fmla="*/ 0 w 741"/>
                <a:gd name="T1" fmla="*/ 9 h 494"/>
                <a:gd name="T2" fmla="*/ 138 w 741"/>
                <a:gd name="T3" fmla="*/ 9 h 494"/>
                <a:gd name="T4" fmla="*/ 138 w 741"/>
                <a:gd name="T5" fmla="*/ 78 h 494"/>
                <a:gd name="T6" fmla="*/ 281 w 741"/>
                <a:gd name="T7" fmla="*/ 0 h 494"/>
                <a:gd name="T8" fmla="*/ 418 w 741"/>
                <a:gd name="T9" fmla="*/ 77 h 494"/>
                <a:gd name="T10" fmla="*/ 577 w 741"/>
                <a:gd name="T11" fmla="*/ 0 h 494"/>
                <a:gd name="T12" fmla="*/ 741 w 741"/>
                <a:gd name="T13" fmla="*/ 178 h 494"/>
                <a:gd name="T14" fmla="*/ 741 w 741"/>
                <a:gd name="T15" fmla="*/ 494 h 494"/>
                <a:gd name="T16" fmla="*/ 603 w 741"/>
                <a:gd name="T17" fmla="*/ 494 h 494"/>
                <a:gd name="T18" fmla="*/ 603 w 741"/>
                <a:gd name="T19" fmla="*/ 224 h 494"/>
                <a:gd name="T20" fmla="*/ 523 w 741"/>
                <a:gd name="T21" fmla="*/ 125 h 494"/>
                <a:gd name="T22" fmla="*/ 439 w 741"/>
                <a:gd name="T23" fmla="*/ 224 h 494"/>
                <a:gd name="T24" fmla="*/ 439 w 741"/>
                <a:gd name="T25" fmla="*/ 494 h 494"/>
                <a:gd name="T26" fmla="*/ 302 w 741"/>
                <a:gd name="T27" fmla="*/ 494 h 494"/>
                <a:gd name="T28" fmla="*/ 302 w 741"/>
                <a:gd name="T29" fmla="*/ 224 h 494"/>
                <a:gd name="T30" fmla="*/ 221 w 741"/>
                <a:gd name="T31" fmla="*/ 125 h 494"/>
                <a:gd name="T32" fmla="*/ 138 w 741"/>
                <a:gd name="T33" fmla="*/ 224 h 494"/>
                <a:gd name="T34" fmla="*/ 138 w 741"/>
                <a:gd name="T35" fmla="*/ 494 h 494"/>
                <a:gd name="T36" fmla="*/ 0 w 741"/>
                <a:gd name="T37" fmla="*/ 494 h 494"/>
                <a:gd name="T38" fmla="*/ 0 w 741"/>
                <a:gd name="T39"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1" h="494">
                  <a:moveTo>
                    <a:pt x="0" y="9"/>
                  </a:moveTo>
                  <a:cubicBezTo>
                    <a:pt x="138" y="9"/>
                    <a:pt x="138" y="9"/>
                    <a:pt x="138" y="9"/>
                  </a:cubicBezTo>
                  <a:cubicBezTo>
                    <a:pt x="138" y="78"/>
                    <a:pt x="138" y="78"/>
                    <a:pt x="138" y="78"/>
                  </a:cubicBezTo>
                  <a:cubicBezTo>
                    <a:pt x="170" y="37"/>
                    <a:pt x="211" y="0"/>
                    <a:pt x="281" y="0"/>
                  </a:cubicBezTo>
                  <a:cubicBezTo>
                    <a:pt x="344" y="0"/>
                    <a:pt x="392" y="28"/>
                    <a:pt x="418" y="77"/>
                  </a:cubicBezTo>
                  <a:cubicBezTo>
                    <a:pt x="460" y="27"/>
                    <a:pt x="511" y="0"/>
                    <a:pt x="577" y="0"/>
                  </a:cubicBezTo>
                  <a:cubicBezTo>
                    <a:pt x="679" y="0"/>
                    <a:pt x="741" y="62"/>
                    <a:pt x="741" y="178"/>
                  </a:cubicBezTo>
                  <a:cubicBezTo>
                    <a:pt x="741" y="494"/>
                    <a:pt x="741" y="494"/>
                    <a:pt x="741" y="494"/>
                  </a:cubicBezTo>
                  <a:cubicBezTo>
                    <a:pt x="603" y="494"/>
                    <a:pt x="603" y="494"/>
                    <a:pt x="603" y="494"/>
                  </a:cubicBezTo>
                  <a:cubicBezTo>
                    <a:pt x="603" y="224"/>
                    <a:pt x="603" y="224"/>
                    <a:pt x="603" y="224"/>
                  </a:cubicBezTo>
                  <a:cubicBezTo>
                    <a:pt x="603" y="159"/>
                    <a:pt x="574" y="125"/>
                    <a:pt x="523" y="125"/>
                  </a:cubicBezTo>
                  <a:cubicBezTo>
                    <a:pt x="471" y="125"/>
                    <a:pt x="439" y="159"/>
                    <a:pt x="439" y="224"/>
                  </a:cubicBezTo>
                  <a:cubicBezTo>
                    <a:pt x="439" y="494"/>
                    <a:pt x="439" y="494"/>
                    <a:pt x="439" y="494"/>
                  </a:cubicBezTo>
                  <a:cubicBezTo>
                    <a:pt x="302" y="494"/>
                    <a:pt x="302" y="494"/>
                    <a:pt x="302" y="494"/>
                  </a:cubicBezTo>
                  <a:cubicBezTo>
                    <a:pt x="302" y="224"/>
                    <a:pt x="302" y="224"/>
                    <a:pt x="302" y="224"/>
                  </a:cubicBezTo>
                  <a:cubicBezTo>
                    <a:pt x="302" y="159"/>
                    <a:pt x="273" y="125"/>
                    <a:pt x="221" y="125"/>
                  </a:cubicBezTo>
                  <a:cubicBezTo>
                    <a:pt x="170" y="125"/>
                    <a:pt x="138" y="159"/>
                    <a:pt x="138" y="224"/>
                  </a:cubicBezTo>
                  <a:cubicBezTo>
                    <a:pt x="138" y="494"/>
                    <a:pt x="138" y="494"/>
                    <a:pt x="138"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7">
              <a:extLst>
                <a:ext uri="{FF2B5EF4-FFF2-40B4-BE49-F238E27FC236}">
                  <a16:creationId xmlns:a16="http://schemas.microsoft.com/office/drawing/2014/main" id="{8776387C-7DBE-0FBD-3AED-689433E76864}"/>
                </a:ext>
              </a:extLst>
            </p:cNvPr>
            <p:cNvSpPr>
              <a:spLocks noEditPoints="1"/>
            </p:cNvSpPr>
            <p:nvPr userDrawn="1"/>
          </p:nvSpPr>
          <p:spPr bwMode="auto">
            <a:xfrm>
              <a:off x="6125971" y="567985"/>
              <a:ext cx="193713" cy="216764"/>
            </a:xfrm>
            <a:custGeom>
              <a:avLst/>
              <a:gdLst>
                <a:gd name="T0" fmla="*/ 0 w 446"/>
                <a:gd name="T1" fmla="*/ 351 h 499"/>
                <a:gd name="T2" fmla="*/ 0 w 446"/>
                <a:gd name="T3" fmla="*/ 349 h 499"/>
                <a:gd name="T4" fmla="*/ 195 w 446"/>
                <a:gd name="T5" fmla="*/ 194 h 499"/>
                <a:gd name="T6" fmla="*/ 314 w 446"/>
                <a:gd name="T7" fmla="*/ 214 h 499"/>
                <a:gd name="T8" fmla="*/ 314 w 446"/>
                <a:gd name="T9" fmla="*/ 206 h 499"/>
                <a:gd name="T10" fmla="*/ 210 w 446"/>
                <a:gd name="T11" fmla="*/ 117 h 499"/>
                <a:gd name="T12" fmla="*/ 76 w 446"/>
                <a:gd name="T13" fmla="*/ 144 h 499"/>
                <a:gd name="T14" fmla="*/ 42 w 446"/>
                <a:gd name="T15" fmla="*/ 39 h 499"/>
                <a:gd name="T16" fmla="*/ 230 w 446"/>
                <a:gd name="T17" fmla="*/ 0 h 499"/>
                <a:gd name="T18" fmla="*/ 394 w 446"/>
                <a:gd name="T19" fmla="*/ 54 h 499"/>
                <a:gd name="T20" fmla="*/ 446 w 446"/>
                <a:gd name="T21" fmla="*/ 209 h 499"/>
                <a:gd name="T22" fmla="*/ 446 w 446"/>
                <a:gd name="T23" fmla="*/ 490 h 499"/>
                <a:gd name="T24" fmla="*/ 313 w 446"/>
                <a:gd name="T25" fmla="*/ 490 h 499"/>
                <a:gd name="T26" fmla="*/ 313 w 446"/>
                <a:gd name="T27" fmla="*/ 438 h 499"/>
                <a:gd name="T28" fmla="*/ 166 w 446"/>
                <a:gd name="T29" fmla="*/ 499 h 499"/>
                <a:gd name="T30" fmla="*/ 0 w 446"/>
                <a:gd name="T31" fmla="*/ 351 h 499"/>
                <a:gd name="T32" fmla="*/ 316 w 446"/>
                <a:gd name="T33" fmla="*/ 319 h 499"/>
                <a:gd name="T34" fmla="*/ 316 w 446"/>
                <a:gd name="T35" fmla="*/ 295 h 499"/>
                <a:gd name="T36" fmla="*/ 228 w 446"/>
                <a:gd name="T37" fmla="*/ 277 h 499"/>
                <a:gd name="T38" fmla="*/ 133 w 446"/>
                <a:gd name="T39" fmla="*/ 344 h 499"/>
                <a:gd name="T40" fmla="*/ 133 w 446"/>
                <a:gd name="T41" fmla="*/ 346 h 499"/>
                <a:gd name="T42" fmla="*/ 208 w 446"/>
                <a:gd name="T43" fmla="*/ 404 h 499"/>
                <a:gd name="T44" fmla="*/ 316 w 446"/>
                <a:gd name="T45" fmla="*/ 31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499">
                  <a:moveTo>
                    <a:pt x="0" y="351"/>
                  </a:moveTo>
                  <a:cubicBezTo>
                    <a:pt x="0" y="349"/>
                    <a:pt x="0" y="349"/>
                    <a:pt x="0" y="349"/>
                  </a:cubicBezTo>
                  <a:cubicBezTo>
                    <a:pt x="0" y="243"/>
                    <a:pt x="80" y="194"/>
                    <a:pt x="195" y="194"/>
                  </a:cubicBezTo>
                  <a:cubicBezTo>
                    <a:pt x="244" y="194"/>
                    <a:pt x="280" y="202"/>
                    <a:pt x="314" y="214"/>
                  </a:cubicBezTo>
                  <a:cubicBezTo>
                    <a:pt x="314" y="206"/>
                    <a:pt x="314" y="206"/>
                    <a:pt x="314" y="206"/>
                  </a:cubicBezTo>
                  <a:cubicBezTo>
                    <a:pt x="314" y="149"/>
                    <a:pt x="279" y="117"/>
                    <a:pt x="210" y="117"/>
                  </a:cubicBezTo>
                  <a:cubicBezTo>
                    <a:pt x="157" y="117"/>
                    <a:pt x="120" y="127"/>
                    <a:pt x="76" y="144"/>
                  </a:cubicBezTo>
                  <a:cubicBezTo>
                    <a:pt x="42" y="39"/>
                    <a:pt x="42" y="39"/>
                    <a:pt x="42" y="39"/>
                  </a:cubicBezTo>
                  <a:cubicBezTo>
                    <a:pt x="95" y="15"/>
                    <a:pt x="147" y="0"/>
                    <a:pt x="230" y="0"/>
                  </a:cubicBezTo>
                  <a:cubicBezTo>
                    <a:pt x="305" y="0"/>
                    <a:pt x="359" y="20"/>
                    <a:pt x="394" y="54"/>
                  </a:cubicBezTo>
                  <a:cubicBezTo>
                    <a:pt x="430" y="90"/>
                    <a:pt x="446" y="144"/>
                    <a:pt x="446" y="209"/>
                  </a:cubicBezTo>
                  <a:cubicBezTo>
                    <a:pt x="446" y="490"/>
                    <a:pt x="446" y="490"/>
                    <a:pt x="446" y="490"/>
                  </a:cubicBezTo>
                  <a:cubicBezTo>
                    <a:pt x="313" y="490"/>
                    <a:pt x="313" y="490"/>
                    <a:pt x="313" y="490"/>
                  </a:cubicBezTo>
                  <a:cubicBezTo>
                    <a:pt x="313" y="438"/>
                    <a:pt x="313" y="438"/>
                    <a:pt x="313" y="438"/>
                  </a:cubicBezTo>
                  <a:cubicBezTo>
                    <a:pt x="280" y="475"/>
                    <a:pt x="233" y="499"/>
                    <a:pt x="166" y="499"/>
                  </a:cubicBezTo>
                  <a:cubicBezTo>
                    <a:pt x="75" y="499"/>
                    <a:pt x="0" y="447"/>
                    <a:pt x="0" y="351"/>
                  </a:cubicBezTo>
                  <a:close/>
                  <a:moveTo>
                    <a:pt x="316" y="319"/>
                  </a:moveTo>
                  <a:cubicBezTo>
                    <a:pt x="316" y="295"/>
                    <a:pt x="316" y="295"/>
                    <a:pt x="316" y="295"/>
                  </a:cubicBezTo>
                  <a:cubicBezTo>
                    <a:pt x="292" y="284"/>
                    <a:pt x="262" y="277"/>
                    <a:pt x="228" y="277"/>
                  </a:cubicBezTo>
                  <a:cubicBezTo>
                    <a:pt x="169" y="277"/>
                    <a:pt x="133" y="300"/>
                    <a:pt x="133" y="344"/>
                  </a:cubicBezTo>
                  <a:cubicBezTo>
                    <a:pt x="133" y="346"/>
                    <a:pt x="133" y="346"/>
                    <a:pt x="133" y="346"/>
                  </a:cubicBezTo>
                  <a:cubicBezTo>
                    <a:pt x="133" y="383"/>
                    <a:pt x="164" y="404"/>
                    <a:pt x="208" y="404"/>
                  </a:cubicBezTo>
                  <a:cubicBezTo>
                    <a:pt x="272" y="404"/>
                    <a:pt x="316" y="369"/>
                    <a:pt x="31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8">
              <a:extLst>
                <a:ext uri="{FF2B5EF4-FFF2-40B4-BE49-F238E27FC236}">
                  <a16:creationId xmlns:a16="http://schemas.microsoft.com/office/drawing/2014/main" id="{262E0FEC-2981-11B0-3D88-8A94D08178CF}"/>
                </a:ext>
              </a:extLst>
            </p:cNvPr>
            <p:cNvSpPr>
              <a:spLocks/>
            </p:cNvSpPr>
            <p:nvPr userDrawn="1"/>
          </p:nvSpPr>
          <p:spPr bwMode="auto">
            <a:xfrm>
              <a:off x="6336529" y="564438"/>
              <a:ext cx="127665"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9">
              <a:extLst>
                <a:ext uri="{FF2B5EF4-FFF2-40B4-BE49-F238E27FC236}">
                  <a16:creationId xmlns:a16="http://schemas.microsoft.com/office/drawing/2014/main" id="{FECC1288-545E-BDB4-6462-3EE5544D7025}"/>
                </a:ext>
              </a:extLst>
            </p:cNvPr>
            <p:cNvSpPr>
              <a:spLocks/>
            </p:cNvSpPr>
            <p:nvPr userDrawn="1"/>
          </p:nvSpPr>
          <p:spPr bwMode="auto">
            <a:xfrm>
              <a:off x="6475719" y="516121"/>
              <a:ext cx="134757" cy="268184"/>
            </a:xfrm>
            <a:custGeom>
              <a:avLst/>
              <a:gdLst>
                <a:gd name="T0" fmla="*/ 58 w 310"/>
                <a:gd name="T1" fmla="*/ 472 h 617"/>
                <a:gd name="T2" fmla="*/ 58 w 310"/>
                <a:gd name="T3" fmla="*/ 242 h 617"/>
                <a:gd name="T4" fmla="*/ 0 w 310"/>
                <a:gd name="T5" fmla="*/ 242 h 617"/>
                <a:gd name="T6" fmla="*/ 0 w 310"/>
                <a:gd name="T7" fmla="*/ 124 h 617"/>
                <a:gd name="T8" fmla="*/ 58 w 310"/>
                <a:gd name="T9" fmla="*/ 124 h 617"/>
                <a:gd name="T10" fmla="*/ 58 w 310"/>
                <a:gd name="T11" fmla="*/ 0 h 617"/>
                <a:gd name="T12" fmla="*/ 196 w 310"/>
                <a:gd name="T13" fmla="*/ 0 h 617"/>
                <a:gd name="T14" fmla="*/ 196 w 310"/>
                <a:gd name="T15" fmla="*/ 124 h 617"/>
                <a:gd name="T16" fmla="*/ 310 w 310"/>
                <a:gd name="T17" fmla="*/ 124 h 617"/>
                <a:gd name="T18" fmla="*/ 310 w 310"/>
                <a:gd name="T19" fmla="*/ 242 h 617"/>
                <a:gd name="T20" fmla="*/ 196 w 310"/>
                <a:gd name="T21" fmla="*/ 242 h 617"/>
                <a:gd name="T22" fmla="*/ 196 w 310"/>
                <a:gd name="T23" fmla="*/ 449 h 617"/>
                <a:gd name="T24" fmla="*/ 240 w 310"/>
                <a:gd name="T25" fmla="*/ 496 h 617"/>
                <a:gd name="T26" fmla="*/ 308 w 310"/>
                <a:gd name="T27" fmla="*/ 479 h 617"/>
                <a:gd name="T28" fmla="*/ 308 w 310"/>
                <a:gd name="T29" fmla="*/ 589 h 617"/>
                <a:gd name="T30" fmla="*/ 199 w 310"/>
                <a:gd name="T31" fmla="*/ 617 h 617"/>
                <a:gd name="T32" fmla="*/ 58 w 310"/>
                <a:gd name="T33" fmla="*/ 4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7">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6" y="0"/>
                    <a:pt x="196" y="0"/>
                    <a:pt x="196" y="0"/>
                  </a:cubicBezTo>
                  <a:cubicBezTo>
                    <a:pt x="196" y="124"/>
                    <a:pt x="196" y="124"/>
                    <a:pt x="196" y="124"/>
                  </a:cubicBezTo>
                  <a:cubicBezTo>
                    <a:pt x="310" y="124"/>
                    <a:pt x="310" y="124"/>
                    <a:pt x="310" y="124"/>
                  </a:cubicBezTo>
                  <a:cubicBezTo>
                    <a:pt x="310" y="242"/>
                    <a:pt x="310" y="242"/>
                    <a:pt x="310" y="242"/>
                  </a:cubicBezTo>
                  <a:cubicBezTo>
                    <a:pt x="196" y="242"/>
                    <a:pt x="196" y="242"/>
                    <a:pt x="196" y="242"/>
                  </a:cubicBezTo>
                  <a:cubicBezTo>
                    <a:pt x="196" y="449"/>
                    <a:pt x="196" y="449"/>
                    <a:pt x="196" y="449"/>
                  </a:cubicBezTo>
                  <a:cubicBezTo>
                    <a:pt x="196" y="481"/>
                    <a:pt x="209" y="496"/>
                    <a:pt x="240" y="496"/>
                  </a:cubicBezTo>
                  <a:cubicBezTo>
                    <a:pt x="265" y="496"/>
                    <a:pt x="288" y="490"/>
                    <a:pt x="308" y="479"/>
                  </a:cubicBezTo>
                  <a:cubicBezTo>
                    <a:pt x="308" y="589"/>
                    <a:pt x="308" y="589"/>
                    <a:pt x="308" y="589"/>
                  </a:cubicBezTo>
                  <a:cubicBezTo>
                    <a:pt x="279" y="607"/>
                    <a:pt x="245" y="617"/>
                    <a:pt x="199" y="617"/>
                  </a:cubicBezTo>
                  <a:cubicBezTo>
                    <a:pt x="115" y="617"/>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10">
              <a:extLst>
                <a:ext uri="{FF2B5EF4-FFF2-40B4-BE49-F238E27FC236}">
                  <a16:creationId xmlns:a16="http://schemas.microsoft.com/office/drawing/2014/main" id="{9DB49BE1-F1C8-5A4F-1BE7-B9C5B671A4B9}"/>
                </a:ext>
              </a:extLst>
            </p:cNvPr>
            <p:cNvSpPr>
              <a:spLocks noEditPoints="1"/>
            </p:cNvSpPr>
            <p:nvPr userDrawn="1"/>
          </p:nvSpPr>
          <p:spPr bwMode="auto">
            <a:xfrm>
              <a:off x="6618455" y="566212"/>
              <a:ext cx="207012" cy="219424"/>
            </a:xfrm>
            <a:custGeom>
              <a:avLst/>
              <a:gdLst>
                <a:gd name="T0" fmla="*/ 0 w 476"/>
                <a:gd name="T1" fmla="*/ 254 h 505"/>
                <a:gd name="T2" fmla="*/ 0 w 476"/>
                <a:gd name="T3" fmla="*/ 253 h 505"/>
                <a:gd name="T4" fmla="*/ 240 w 476"/>
                <a:gd name="T5" fmla="*/ 0 h 505"/>
                <a:gd name="T6" fmla="*/ 476 w 476"/>
                <a:gd name="T7" fmla="*/ 263 h 505"/>
                <a:gd name="T8" fmla="*/ 475 w 476"/>
                <a:gd name="T9" fmla="*/ 300 h 505"/>
                <a:gd name="T10" fmla="*/ 137 w 476"/>
                <a:gd name="T11" fmla="*/ 300 h 505"/>
                <a:gd name="T12" fmla="*/ 256 w 476"/>
                <a:gd name="T13" fmla="*/ 395 h 505"/>
                <a:gd name="T14" fmla="*/ 373 w 476"/>
                <a:gd name="T15" fmla="*/ 345 h 505"/>
                <a:gd name="T16" fmla="*/ 452 w 476"/>
                <a:gd name="T17" fmla="*/ 415 h 505"/>
                <a:gd name="T18" fmla="*/ 254 w 476"/>
                <a:gd name="T19" fmla="*/ 505 h 505"/>
                <a:gd name="T20" fmla="*/ 0 w 476"/>
                <a:gd name="T21" fmla="*/ 254 h 505"/>
                <a:gd name="T22" fmla="*/ 342 w 476"/>
                <a:gd name="T23" fmla="*/ 214 h 505"/>
                <a:gd name="T24" fmla="*/ 240 w 476"/>
                <a:gd name="T25" fmla="*/ 111 h 505"/>
                <a:gd name="T26" fmla="*/ 135 w 476"/>
                <a:gd name="T27" fmla="*/ 214 h 505"/>
                <a:gd name="T28" fmla="*/ 342 w 476"/>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05">
                  <a:moveTo>
                    <a:pt x="0" y="254"/>
                  </a:moveTo>
                  <a:cubicBezTo>
                    <a:pt x="0" y="253"/>
                    <a:pt x="0" y="253"/>
                    <a:pt x="0" y="253"/>
                  </a:cubicBezTo>
                  <a:cubicBezTo>
                    <a:pt x="0" y="114"/>
                    <a:pt x="99" y="0"/>
                    <a:pt x="240" y="0"/>
                  </a:cubicBezTo>
                  <a:cubicBezTo>
                    <a:pt x="402" y="0"/>
                    <a:pt x="476" y="126"/>
                    <a:pt x="476" y="263"/>
                  </a:cubicBezTo>
                  <a:cubicBezTo>
                    <a:pt x="476"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2" y="214"/>
                  </a:moveTo>
                  <a:cubicBezTo>
                    <a:pt x="334" y="152"/>
                    <a:pt x="298" y="111"/>
                    <a:pt x="240" y="111"/>
                  </a:cubicBezTo>
                  <a:cubicBezTo>
                    <a:pt x="183" y="111"/>
                    <a:pt x="146" y="151"/>
                    <a:pt x="135" y="214"/>
                  </a:cubicBezTo>
                  <a:lnTo>
                    <a:pt x="342"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11">
              <a:extLst>
                <a:ext uri="{FF2B5EF4-FFF2-40B4-BE49-F238E27FC236}">
                  <a16:creationId xmlns:a16="http://schemas.microsoft.com/office/drawing/2014/main" id="{5700CEE7-82FA-F314-D150-00348A9C1993}"/>
                </a:ext>
              </a:extLst>
            </p:cNvPr>
            <p:cNvSpPr>
              <a:spLocks/>
            </p:cNvSpPr>
            <p:nvPr userDrawn="1"/>
          </p:nvSpPr>
          <p:spPr bwMode="auto">
            <a:xfrm>
              <a:off x="6837879" y="564438"/>
              <a:ext cx="127221"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12">
              <a:extLst>
                <a:ext uri="{FF2B5EF4-FFF2-40B4-BE49-F238E27FC236}">
                  <a16:creationId xmlns:a16="http://schemas.microsoft.com/office/drawing/2014/main" id="{FC0AB9F7-3D02-4537-31F6-D98B2250C9F3}"/>
                </a:ext>
              </a:extLst>
            </p:cNvPr>
            <p:cNvSpPr>
              <a:spLocks/>
            </p:cNvSpPr>
            <p:nvPr userDrawn="1"/>
          </p:nvSpPr>
          <p:spPr bwMode="auto">
            <a:xfrm>
              <a:off x="4988072" y="888476"/>
              <a:ext cx="134757" cy="268628"/>
            </a:xfrm>
            <a:custGeom>
              <a:avLst/>
              <a:gdLst>
                <a:gd name="T0" fmla="*/ 58 w 310"/>
                <a:gd name="T1" fmla="*/ 472 h 618"/>
                <a:gd name="T2" fmla="*/ 58 w 310"/>
                <a:gd name="T3" fmla="*/ 242 h 618"/>
                <a:gd name="T4" fmla="*/ 0 w 310"/>
                <a:gd name="T5" fmla="*/ 242 h 618"/>
                <a:gd name="T6" fmla="*/ 0 w 310"/>
                <a:gd name="T7" fmla="*/ 124 h 618"/>
                <a:gd name="T8" fmla="*/ 58 w 310"/>
                <a:gd name="T9" fmla="*/ 124 h 618"/>
                <a:gd name="T10" fmla="*/ 58 w 310"/>
                <a:gd name="T11" fmla="*/ 0 h 618"/>
                <a:gd name="T12" fmla="*/ 195 w 310"/>
                <a:gd name="T13" fmla="*/ 0 h 618"/>
                <a:gd name="T14" fmla="*/ 195 w 310"/>
                <a:gd name="T15" fmla="*/ 124 h 618"/>
                <a:gd name="T16" fmla="*/ 310 w 310"/>
                <a:gd name="T17" fmla="*/ 124 h 618"/>
                <a:gd name="T18" fmla="*/ 310 w 310"/>
                <a:gd name="T19" fmla="*/ 242 h 618"/>
                <a:gd name="T20" fmla="*/ 195 w 310"/>
                <a:gd name="T21" fmla="*/ 242 h 618"/>
                <a:gd name="T22" fmla="*/ 195 w 310"/>
                <a:gd name="T23" fmla="*/ 449 h 618"/>
                <a:gd name="T24" fmla="*/ 240 w 310"/>
                <a:gd name="T25" fmla="*/ 496 h 618"/>
                <a:gd name="T26" fmla="*/ 308 w 310"/>
                <a:gd name="T27" fmla="*/ 479 h 618"/>
                <a:gd name="T28" fmla="*/ 308 w 310"/>
                <a:gd name="T29" fmla="*/ 590 h 618"/>
                <a:gd name="T30" fmla="*/ 199 w 310"/>
                <a:gd name="T31" fmla="*/ 618 h 618"/>
                <a:gd name="T32" fmla="*/ 58 w 310"/>
                <a:gd name="T33" fmla="*/ 47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8">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5" y="0"/>
                    <a:pt x="195" y="0"/>
                    <a:pt x="195" y="0"/>
                  </a:cubicBezTo>
                  <a:cubicBezTo>
                    <a:pt x="195" y="124"/>
                    <a:pt x="195" y="124"/>
                    <a:pt x="195" y="124"/>
                  </a:cubicBezTo>
                  <a:cubicBezTo>
                    <a:pt x="310" y="124"/>
                    <a:pt x="310" y="124"/>
                    <a:pt x="310" y="124"/>
                  </a:cubicBezTo>
                  <a:cubicBezTo>
                    <a:pt x="310" y="242"/>
                    <a:pt x="310" y="242"/>
                    <a:pt x="310" y="242"/>
                  </a:cubicBezTo>
                  <a:cubicBezTo>
                    <a:pt x="195" y="242"/>
                    <a:pt x="195" y="242"/>
                    <a:pt x="195" y="242"/>
                  </a:cubicBezTo>
                  <a:cubicBezTo>
                    <a:pt x="195" y="449"/>
                    <a:pt x="195" y="449"/>
                    <a:pt x="195" y="449"/>
                  </a:cubicBezTo>
                  <a:cubicBezTo>
                    <a:pt x="195" y="481"/>
                    <a:pt x="209" y="496"/>
                    <a:pt x="240" y="496"/>
                  </a:cubicBezTo>
                  <a:cubicBezTo>
                    <a:pt x="265" y="496"/>
                    <a:pt x="288" y="490"/>
                    <a:pt x="308" y="479"/>
                  </a:cubicBezTo>
                  <a:cubicBezTo>
                    <a:pt x="308" y="590"/>
                    <a:pt x="308" y="590"/>
                    <a:pt x="308" y="590"/>
                  </a:cubicBezTo>
                  <a:cubicBezTo>
                    <a:pt x="279" y="607"/>
                    <a:pt x="245" y="618"/>
                    <a:pt x="199" y="618"/>
                  </a:cubicBezTo>
                  <a:cubicBezTo>
                    <a:pt x="115" y="618"/>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13">
              <a:extLst>
                <a:ext uri="{FF2B5EF4-FFF2-40B4-BE49-F238E27FC236}">
                  <a16:creationId xmlns:a16="http://schemas.microsoft.com/office/drawing/2014/main" id="{12D11DBC-90A7-4337-F6CB-C20DBD872CBD}"/>
                </a:ext>
              </a:extLst>
            </p:cNvPr>
            <p:cNvSpPr>
              <a:spLocks noEditPoints="1"/>
            </p:cNvSpPr>
            <p:nvPr userDrawn="1"/>
          </p:nvSpPr>
          <p:spPr bwMode="auto">
            <a:xfrm>
              <a:off x="5131251" y="938123"/>
              <a:ext cx="207455" cy="219867"/>
            </a:xfrm>
            <a:custGeom>
              <a:avLst/>
              <a:gdLst>
                <a:gd name="T0" fmla="*/ 0 w 477"/>
                <a:gd name="T1" fmla="*/ 254 h 505"/>
                <a:gd name="T2" fmla="*/ 0 w 477"/>
                <a:gd name="T3" fmla="*/ 253 h 505"/>
                <a:gd name="T4" fmla="*/ 240 w 477"/>
                <a:gd name="T5" fmla="*/ 0 h 505"/>
                <a:gd name="T6" fmla="*/ 477 w 477"/>
                <a:gd name="T7" fmla="*/ 263 h 505"/>
                <a:gd name="T8" fmla="*/ 475 w 477"/>
                <a:gd name="T9" fmla="*/ 300 h 505"/>
                <a:gd name="T10" fmla="*/ 137 w 477"/>
                <a:gd name="T11" fmla="*/ 300 h 505"/>
                <a:gd name="T12" fmla="*/ 256 w 477"/>
                <a:gd name="T13" fmla="*/ 395 h 505"/>
                <a:gd name="T14" fmla="*/ 373 w 477"/>
                <a:gd name="T15" fmla="*/ 345 h 505"/>
                <a:gd name="T16" fmla="*/ 452 w 477"/>
                <a:gd name="T17" fmla="*/ 415 h 505"/>
                <a:gd name="T18" fmla="*/ 254 w 477"/>
                <a:gd name="T19" fmla="*/ 505 h 505"/>
                <a:gd name="T20" fmla="*/ 0 w 477"/>
                <a:gd name="T21" fmla="*/ 254 h 505"/>
                <a:gd name="T22" fmla="*/ 343 w 477"/>
                <a:gd name="T23" fmla="*/ 214 h 505"/>
                <a:gd name="T24" fmla="*/ 240 w 477"/>
                <a:gd name="T25" fmla="*/ 111 h 505"/>
                <a:gd name="T26" fmla="*/ 135 w 477"/>
                <a:gd name="T27" fmla="*/ 214 h 505"/>
                <a:gd name="T28" fmla="*/ 343 w 477"/>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 h="505">
                  <a:moveTo>
                    <a:pt x="0" y="254"/>
                  </a:moveTo>
                  <a:cubicBezTo>
                    <a:pt x="0" y="253"/>
                    <a:pt x="0" y="253"/>
                    <a:pt x="0" y="253"/>
                  </a:cubicBezTo>
                  <a:cubicBezTo>
                    <a:pt x="0" y="114"/>
                    <a:pt x="99" y="0"/>
                    <a:pt x="240" y="0"/>
                  </a:cubicBezTo>
                  <a:cubicBezTo>
                    <a:pt x="402" y="0"/>
                    <a:pt x="477" y="126"/>
                    <a:pt x="477" y="263"/>
                  </a:cubicBezTo>
                  <a:cubicBezTo>
                    <a:pt x="477"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3" y="214"/>
                  </a:moveTo>
                  <a:cubicBezTo>
                    <a:pt x="334" y="152"/>
                    <a:pt x="298" y="111"/>
                    <a:pt x="240" y="111"/>
                  </a:cubicBezTo>
                  <a:cubicBezTo>
                    <a:pt x="183" y="111"/>
                    <a:pt x="146" y="151"/>
                    <a:pt x="135" y="214"/>
                  </a:cubicBezTo>
                  <a:lnTo>
                    <a:pt x="34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14">
              <a:extLst>
                <a:ext uri="{FF2B5EF4-FFF2-40B4-BE49-F238E27FC236}">
                  <a16:creationId xmlns:a16="http://schemas.microsoft.com/office/drawing/2014/main" id="{F524D8E9-37C3-A27E-30E8-DF8ACF25D41F}"/>
                </a:ext>
              </a:extLst>
            </p:cNvPr>
            <p:cNvSpPr>
              <a:spLocks/>
            </p:cNvSpPr>
            <p:nvPr userDrawn="1"/>
          </p:nvSpPr>
          <p:spPr bwMode="auto">
            <a:xfrm>
              <a:off x="5348015" y="938123"/>
              <a:ext cx="195486" cy="219867"/>
            </a:xfrm>
            <a:custGeom>
              <a:avLst/>
              <a:gdLst>
                <a:gd name="T0" fmla="*/ 0 w 450"/>
                <a:gd name="T1" fmla="*/ 254 h 505"/>
                <a:gd name="T2" fmla="*/ 0 w 450"/>
                <a:gd name="T3" fmla="*/ 253 h 505"/>
                <a:gd name="T4" fmla="*/ 254 w 450"/>
                <a:gd name="T5" fmla="*/ 0 h 505"/>
                <a:gd name="T6" fmla="*/ 448 w 450"/>
                <a:gd name="T7" fmla="*/ 82 h 505"/>
                <a:gd name="T8" fmla="*/ 363 w 450"/>
                <a:gd name="T9" fmla="*/ 172 h 505"/>
                <a:gd name="T10" fmla="*/ 253 w 450"/>
                <a:gd name="T11" fmla="*/ 119 h 505"/>
                <a:gd name="T12" fmla="*/ 135 w 450"/>
                <a:gd name="T13" fmla="*/ 251 h 505"/>
                <a:gd name="T14" fmla="*/ 135 w 450"/>
                <a:gd name="T15" fmla="*/ 253 h 505"/>
                <a:gd name="T16" fmla="*/ 258 w 450"/>
                <a:gd name="T17" fmla="*/ 387 h 505"/>
                <a:gd name="T18" fmla="*/ 370 w 450"/>
                <a:gd name="T19" fmla="*/ 335 h 505"/>
                <a:gd name="T20" fmla="*/ 450 w 450"/>
                <a:gd name="T21" fmla="*/ 416 h 505"/>
                <a:gd name="T22" fmla="*/ 252 w 450"/>
                <a:gd name="T23" fmla="*/ 505 h 505"/>
                <a:gd name="T24" fmla="*/ 0 w 450"/>
                <a:gd name="T25"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505">
                  <a:moveTo>
                    <a:pt x="0" y="254"/>
                  </a:moveTo>
                  <a:cubicBezTo>
                    <a:pt x="0" y="253"/>
                    <a:pt x="0" y="253"/>
                    <a:pt x="0" y="253"/>
                  </a:cubicBezTo>
                  <a:cubicBezTo>
                    <a:pt x="0" y="114"/>
                    <a:pt x="106" y="0"/>
                    <a:pt x="254" y="0"/>
                  </a:cubicBezTo>
                  <a:cubicBezTo>
                    <a:pt x="345" y="0"/>
                    <a:pt x="402" y="31"/>
                    <a:pt x="448" y="82"/>
                  </a:cubicBezTo>
                  <a:cubicBezTo>
                    <a:pt x="363" y="172"/>
                    <a:pt x="363" y="172"/>
                    <a:pt x="363" y="172"/>
                  </a:cubicBezTo>
                  <a:cubicBezTo>
                    <a:pt x="333" y="139"/>
                    <a:pt x="302" y="119"/>
                    <a:pt x="253" y="119"/>
                  </a:cubicBezTo>
                  <a:cubicBezTo>
                    <a:pt x="184" y="119"/>
                    <a:pt x="135" y="179"/>
                    <a:pt x="135" y="251"/>
                  </a:cubicBezTo>
                  <a:cubicBezTo>
                    <a:pt x="135" y="253"/>
                    <a:pt x="135" y="253"/>
                    <a:pt x="135" y="253"/>
                  </a:cubicBezTo>
                  <a:cubicBezTo>
                    <a:pt x="135" y="327"/>
                    <a:pt x="183" y="387"/>
                    <a:pt x="258" y="387"/>
                  </a:cubicBezTo>
                  <a:cubicBezTo>
                    <a:pt x="305" y="387"/>
                    <a:pt x="336" y="367"/>
                    <a:pt x="370" y="335"/>
                  </a:cubicBezTo>
                  <a:cubicBezTo>
                    <a:pt x="450" y="416"/>
                    <a:pt x="450" y="416"/>
                    <a:pt x="450" y="416"/>
                  </a:cubicBezTo>
                  <a:cubicBezTo>
                    <a:pt x="403" y="468"/>
                    <a:pt x="349" y="505"/>
                    <a:pt x="252" y="505"/>
                  </a:cubicBezTo>
                  <a:cubicBezTo>
                    <a:pt x="106" y="505"/>
                    <a:pt x="0" y="393"/>
                    <a:pt x="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15">
              <a:extLst>
                <a:ext uri="{FF2B5EF4-FFF2-40B4-BE49-F238E27FC236}">
                  <a16:creationId xmlns:a16="http://schemas.microsoft.com/office/drawing/2014/main" id="{083673F6-E265-4005-D62C-293234A8CE09}"/>
                </a:ext>
              </a:extLst>
            </p:cNvPr>
            <p:cNvSpPr>
              <a:spLocks/>
            </p:cNvSpPr>
            <p:nvPr userDrawn="1"/>
          </p:nvSpPr>
          <p:spPr bwMode="auto">
            <a:xfrm>
              <a:off x="5553254" y="866312"/>
              <a:ext cx="193270" cy="286802"/>
            </a:xfrm>
            <a:custGeom>
              <a:avLst/>
              <a:gdLst>
                <a:gd name="T0" fmla="*/ 0 w 445"/>
                <a:gd name="T1" fmla="*/ 0 h 660"/>
                <a:gd name="T2" fmla="*/ 138 w 445"/>
                <a:gd name="T3" fmla="*/ 0 h 660"/>
                <a:gd name="T4" fmla="*/ 138 w 445"/>
                <a:gd name="T5" fmla="*/ 244 h 660"/>
                <a:gd name="T6" fmla="*/ 280 w 445"/>
                <a:gd name="T7" fmla="*/ 166 h 660"/>
                <a:gd name="T8" fmla="*/ 445 w 445"/>
                <a:gd name="T9" fmla="*/ 346 h 660"/>
                <a:gd name="T10" fmla="*/ 445 w 445"/>
                <a:gd name="T11" fmla="*/ 660 h 660"/>
                <a:gd name="T12" fmla="*/ 307 w 445"/>
                <a:gd name="T13" fmla="*/ 660 h 660"/>
                <a:gd name="T14" fmla="*/ 307 w 445"/>
                <a:gd name="T15" fmla="*/ 390 h 660"/>
                <a:gd name="T16" fmla="*/ 224 w 445"/>
                <a:gd name="T17" fmla="*/ 291 h 660"/>
                <a:gd name="T18" fmla="*/ 138 w 445"/>
                <a:gd name="T19" fmla="*/ 390 h 660"/>
                <a:gd name="T20" fmla="*/ 138 w 445"/>
                <a:gd name="T21" fmla="*/ 660 h 660"/>
                <a:gd name="T22" fmla="*/ 0 w 445"/>
                <a:gd name="T23" fmla="*/ 660 h 660"/>
                <a:gd name="T24" fmla="*/ 0 w 445"/>
                <a:gd name="T2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660">
                  <a:moveTo>
                    <a:pt x="0" y="0"/>
                  </a:moveTo>
                  <a:cubicBezTo>
                    <a:pt x="138" y="0"/>
                    <a:pt x="138" y="0"/>
                    <a:pt x="138" y="0"/>
                  </a:cubicBezTo>
                  <a:cubicBezTo>
                    <a:pt x="138" y="244"/>
                    <a:pt x="138" y="244"/>
                    <a:pt x="138" y="244"/>
                  </a:cubicBezTo>
                  <a:cubicBezTo>
                    <a:pt x="169" y="203"/>
                    <a:pt x="210" y="166"/>
                    <a:pt x="280" y="166"/>
                  </a:cubicBezTo>
                  <a:cubicBezTo>
                    <a:pt x="384" y="166"/>
                    <a:pt x="445" y="235"/>
                    <a:pt x="445" y="346"/>
                  </a:cubicBezTo>
                  <a:cubicBezTo>
                    <a:pt x="445" y="660"/>
                    <a:pt x="445" y="660"/>
                    <a:pt x="445" y="660"/>
                  </a:cubicBezTo>
                  <a:cubicBezTo>
                    <a:pt x="307" y="660"/>
                    <a:pt x="307" y="660"/>
                    <a:pt x="307" y="660"/>
                  </a:cubicBezTo>
                  <a:cubicBezTo>
                    <a:pt x="307" y="390"/>
                    <a:pt x="307" y="390"/>
                    <a:pt x="307" y="390"/>
                  </a:cubicBezTo>
                  <a:cubicBezTo>
                    <a:pt x="307" y="324"/>
                    <a:pt x="276" y="291"/>
                    <a:pt x="224" y="291"/>
                  </a:cubicBezTo>
                  <a:cubicBezTo>
                    <a:pt x="171" y="291"/>
                    <a:pt x="138" y="324"/>
                    <a:pt x="138" y="390"/>
                  </a:cubicBezTo>
                  <a:cubicBezTo>
                    <a:pt x="138" y="660"/>
                    <a:pt x="138" y="660"/>
                    <a:pt x="138" y="660"/>
                  </a:cubicBezTo>
                  <a:cubicBezTo>
                    <a:pt x="0" y="660"/>
                    <a:pt x="0" y="660"/>
                    <a:pt x="0" y="66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6">
              <a:extLst>
                <a:ext uri="{FF2B5EF4-FFF2-40B4-BE49-F238E27FC236}">
                  <a16:creationId xmlns:a16="http://schemas.microsoft.com/office/drawing/2014/main" id="{4F04928C-BA06-2085-F636-A4F44FC6E987}"/>
                </a:ext>
              </a:extLst>
            </p:cNvPr>
            <p:cNvSpPr>
              <a:spLocks/>
            </p:cNvSpPr>
            <p:nvPr userDrawn="1"/>
          </p:nvSpPr>
          <p:spPr bwMode="auto">
            <a:xfrm>
              <a:off x="5762039" y="938123"/>
              <a:ext cx="192827" cy="214991"/>
            </a:xfrm>
            <a:custGeom>
              <a:avLst/>
              <a:gdLst>
                <a:gd name="T0" fmla="*/ 0 w 444"/>
                <a:gd name="T1" fmla="*/ 9 h 494"/>
                <a:gd name="T2" fmla="*/ 137 w 444"/>
                <a:gd name="T3" fmla="*/ 9 h 494"/>
                <a:gd name="T4" fmla="*/ 137 w 444"/>
                <a:gd name="T5" fmla="*/ 78 h 494"/>
                <a:gd name="T6" fmla="*/ 279 w 444"/>
                <a:gd name="T7" fmla="*/ 0 h 494"/>
                <a:gd name="T8" fmla="*/ 444 w 444"/>
                <a:gd name="T9" fmla="*/ 180 h 494"/>
                <a:gd name="T10" fmla="*/ 444 w 444"/>
                <a:gd name="T11" fmla="*/ 494 h 494"/>
                <a:gd name="T12" fmla="*/ 306 w 444"/>
                <a:gd name="T13" fmla="*/ 494 h 494"/>
                <a:gd name="T14" fmla="*/ 306 w 444"/>
                <a:gd name="T15" fmla="*/ 224 h 494"/>
                <a:gd name="T16" fmla="*/ 223 w 444"/>
                <a:gd name="T17" fmla="*/ 125 h 494"/>
                <a:gd name="T18" fmla="*/ 137 w 444"/>
                <a:gd name="T19" fmla="*/ 224 h 494"/>
                <a:gd name="T20" fmla="*/ 137 w 444"/>
                <a:gd name="T21" fmla="*/ 494 h 494"/>
                <a:gd name="T22" fmla="*/ 0 w 444"/>
                <a:gd name="T23" fmla="*/ 494 h 494"/>
                <a:gd name="T24" fmla="*/ 0 w 444"/>
                <a:gd name="T25"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94">
                  <a:moveTo>
                    <a:pt x="0" y="9"/>
                  </a:moveTo>
                  <a:cubicBezTo>
                    <a:pt x="137" y="9"/>
                    <a:pt x="137" y="9"/>
                    <a:pt x="137" y="9"/>
                  </a:cubicBezTo>
                  <a:cubicBezTo>
                    <a:pt x="137" y="78"/>
                    <a:pt x="137" y="78"/>
                    <a:pt x="137" y="78"/>
                  </a:cubicBezTo>
                  <a:cubicBezTo>
                    <a:pt x="169" y="37"/>
                    <a:pt x="210" y="0"/>
                    <a:pt x="279" y="0"/>
                  </a:cubicBezTo>
                  <a:cubicBezTo>
                    <a:pt x="383" y="0"/>
                    <a:pt x="444" y="69"/>
                    <a:pt x="444" y="180"/>
                  </a:cubicBezTo>
                  <a:cubicBezTo>
                    <a:pt x="444" y="494"/>
                    <a:pt x="444" y="494"/>
                    <a:pt x="444" y="494"/>
                  </a:cubicBezTo>
                  <a:cubicBezTo>
                    <a:pt x="306" y="494"/>
                    <a:pt x="306" y="494"/>
                    <a:pt x="306" y="494"/>
                  </a:cubicBezTo>
                  <a:cubicBezTo>
                    <a:pt x="306" y="224"/>
                    <a:pt x="306" y="224"/>
                    <a:pt x="306" y="224"/>
                  </a:cubicBezTo>
                  <a:cubicBezTo>
                    <a:pt x="306" y="158"/>
                    <a:pt x="276" y="125"/>
                    <a:pt x="223" y="125"/>
                  </a:cubicBezTo>
                  <a:cubicBezTo>
                    <a:pt x="171" y="125"/>
                    <a:pt x="137" y="158"/>
                    <a:pt x="137" y="224"/>
                  </a:cubicBezTo>
                  <a:cubicBezTo>
                    <a:pt x="137" y="494"/>
                    <a:pt x="137" y="494"/>
                    <a:pt x="137"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7">
              <a:extLst>
                <a:ext uri="{FF2B5EF4-FFF2-40B4-BE49-F238E27FC236}">
                  <a16:creationId xmlns:a16="http://schemas.microsoft.com/office/drawing/2014/main" id="{0B7609F1-6889-0F3F-1078-1078D3AEDAE7}"/>
                </a:ext>
              </a:extLst>
            </p:cNvPr>
            <p:cNvSpPr>
              <a:spLocks noEditPoints="1"/>
            </p:cNvSpPr>
            <p:nvPr userDrawn="1"/>
          </p:nvSpPr>
          <p:spPr bwMode="auto">
            <a:xfrm>
              <a:off x="5967277" y="938123"/>
              <a:ext cx="228289" cy="219867"/>
            </a:xfrm>
            <a:custGeom>
              <a:avLst/>
              <a:gdLst>
                <a:gd name="T0" fmla="*/ 0 w 525"/>
                <a:gd name="T1" fmla="*/ 254 h 505"/>
                <a:gd name="T2" fmla="*/ 0 w 525"/>
                <a:gd name="T3" fmla="*/ 253 h 505"/>
                <a:gd name="T4" fmla="*/ 263 w 525"/>
                <a:gd name="T5" fmla="*/ 0 h 505"/>
                <a:gd name="T6" fmla="*/ 525 w 525"/>
                <a:gd name="T7" fmla="*/ 251 h 505"/>
                <a:gd name="T8" fmla="*/ 525 w 525"/>
                <a:gd name="T9" fmla="*/ 253 h 505"/>
                <a:gd name="T10" fmla="*/ 262 w 525"/>
                <a:gd name="T11" fmla="*/ 505 h 505"/>
                <a:gd name="T12" fmla="*/ 0 w 525"/>
                <a:gd name="T13" fmla="*/ 254 h 505"/>
                <a:gd name="T14" fmla="*/ 389 w 525"/>
                <a:gd name="T15" fmla="*/ 254 h 505"/>
                <a:gd name="T16" fmla="*/ 389 w 525"/>
                <a:gd name="T17" fmla="*/ 253 h 505"/>
                <a:gd name="T18" fmla="*/ 262 w 525"/>
                <a:gd name="T19" fmla="*/ 119 h 505"/>
                <a:gd name="T20" fmla="*/ 136 w 525"/>
                <a:gd name="T21" fmla="*/ 251 h 505"/>
                <a:gd name="T22" fmla="*/ 136 w 525"/>
                <a:gd name="T23" fmla="*/ 253 h 505"/>
                <a:gd name="T24" fmla="*/ 263 w 525"/>
                <a:gd name="T25" fmla="*/ 387 h 505"/>
                <a:gd name="T26" fmla="*/ 389 w 525"/>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5">
                  <a:moveTo>
                    <a:pt x="0" y="254"/>
                  </a:moveTo>
                  <a:cubicBezTo>
                    <a:pt x="0" y="253"/>
                    <a:pt x="0" y="253"/>
                    <a:pt x="0" y="253"/>
                  </a:cubicBezTo>
                  <a:cubicBezTo>
                    <a:pt x="0" y="113"/>
                    <a:pt x="112" y="0"/>
                    <a:pt x="263" y="0"/>
                  </a:cubicBezTo>
                  <a:cubicBezTo>
                    <a:pt x="414" y="0"/>
                    <a:pt x="525" y="111"/>
                    <a:pt x="525" y="251"/>
                  </a:cubicBezTo>
                  <a:cubicBezTo>
                    <a:pt x="525" y="253"/>
                    <a:pt x="525" y="253"/>
                    <a:pt x="525" y="253"/>
                  </a:cubicBezTo>
                  <a:cubicBezTo>
                    <a:pt x="525" y="392"/>
                    <a:pt x="413" y="505"/>
                    <a:pt x="262" y="505"/>
                  </a:cubicBezTo>
                  <a:cubicBezTo>
                    <a:pt x="111" y="505"/>
                    <a:pt x="0" y="394"/>
                    <a:pt x="0" y="254"/>
                  </a:cubicBezTo>
                  <a:close/>
                  <a:moveTo>
                    <a:pt x="389" y="254"/>
                  </a:moveTo>
                  <a:cubicBezTo>
                    <a:pt x="389" y="253"/>
                    <a:pt x="389" y="253"/>
                    <a:pt x="389" y="253"/>
                  </a:cubicBezTo>
                  <a:cubicBezTo>
                    <a:pt x="389" y="181"/>
                    <a:pt x="338" y="119"/>
                    <a:pt x="262" y="119"/>
                  </a:cubicBezTo>
                  <a:cubicBezTo>
                    <a:pt x="183" y="119"/>
                    <a:pt x="136" y="179"/>
                    <a:pt x="136" y="251"/>
                  </a:cubicBezTo>
                  <a:cubicBezTo>
                    <a:pt x="136" y="253"/>
                    <a:pt x="136" y="253"/>
                    <a:pt x="136" y="253"/>
                  </a:cubicBezTo>
                  <a:cubicBezTo>
                    <a:pt x="136" y="324"/>
                    <a:pt x="187" y="387"/>
                    <a:pt x="263" y="387"/>
                  </a:cubicBezTo>
                  <a:cubicBezTo>
                    <a:pt x="342" y="387"/>
                    <a:pt x="389" y="326"/>
                    <a:pt x="389"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8">
              <a:extLst>
                <a:ext uri="{FF2B5EF4-FFF2-40B4-BE49-F238E27FC236}">
                  <a16:creationId xmlns:a16="http://schemas.microsoft.com/office/drawing/2014/main" id="{14DEDB85-DF79-F93C-595F-4B0E6B36F339}"/>
                </a:ext>
              </a:extLst>
            </p:cNvPr>
            <p:cNvSpPr>
              <a:spLocks noChangeArrowheads="1"/>
            </p:cNvSpPr>
            <p:nvPr userDrawn="1"/>
          </p:nvSpPr>
          <p:spPr bwMode="auto">
            <a:xfrm>
              <a:off x="6207091" y="866312"/>
              <a:ext cx="59843" cy="2868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9">
              <a:extLst>
                <a:ext uri="{FF2B5EF4-FFF2-40B4-BE49-F238E27FC236}">
                  <a16:creationId xmlns:a16="http://schemas.microsoft.com/office/drawing/2014/main" id="{481DD98C-1DDB-14FF-BA62-46FAD00BAA89}"/>
                </a:ext>
              </a:extLst>
            </p:cNvPr>
            <p:cNvSpPr>
              <a:spLocks noEditPoints="1"/>
            </p:cNvSpPr>
            <p:nvPr userDrawn="1"/>
          </p:nvSpPr>
          <p:spPr bwMode="auto">
            <a:xfrm>
              <a:off x="6278460" y="938123"/>
              <a:ext cx="228732" cy="219867"/>
            </a:xfrm>
            <a:custGeom>
              <a:avLst/>
              <a:gdLst>
                <a:gd name="T0" fmla="*/ 0 w 526"/>
                <a:gd name="T1" fmla="*/ 254 h 505"/>
                <a:gd name="T2" fmla="*/ 0 w 526"/>
                <a:gd name="T3" fmla="*/ 253 h 505"/>
                <a:gd name="T4" fmla="*/ 264 w 526"/>
                <a:gd name="T5" fmla="*/ 0 h 505"/>
                <a:gd name="T6" fmla="*/ 526 w 526"/>
                <a:gd name="T7" fmla="*/ 251 h 505"/>
                <a:gd name="T8" fmla="*/ 526 w 526"/>
                <a:gd name="T9" fmla="*/ 253 h 505"/>
                <a:gd name="T10" fmla="*/ 262 w 526"/>
                <a:gd name="T11" fmla="*/ 505 h 505"/>
                <a:gd name="T12" fmla="*/ 0 w 526"/>
                <a:gd name="T13" fmla="*/ 254 h 505"/>
                <a:gd name="T14" fmla="*/ 390 w 526"/>
                <a:gd name="T15" fmla="*/ 254 h 505"/>
                <a:gd name="T16" fmla="*/ 390 w 526"/>
                <a:gd name="T17" fmla="*/ 253 h 505"/>
                <a:gd name="T18" fmla="*/ 262 w 526"/>
                <a:gd name="T19" fmla="*/ 119 h 505"/>
                <a:gd name="T20" fmla="*/ 136 w 526"/>
                <a:gd name="T21" fmla="*/ 251 h 505"/>
                <a:gd name="T22" fmla="*/ 136 w 526"/>
                <a:gd name="T23" fmla="*/ 253 h 505"/>
                <a:gd name="T24" fmla="*/ 264 w 526"/>
                <a:gd name="T25" fmla="*/ 387 h 505"/>
                <a:gd name="T26" fmla="*/ 390 w 526"/>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05">
                  <a:moveTo>
                    <a:pt x="0" y="254"/>
                  </a:moveTo>
                  <a:cubicBezTo>
                    <a:pt x="0" y="253"/>
                    <a:pt x="0" y="253"/>
                    <a:pt x="0" y="253"/>
                  </a:cubicBezTo>
                  <a:cubicBezTo>
                    <a:pt x="0" y="113"/>
                    <a:pt x="113" y="0"/>
                    <a:pt x="264" y="0"/>
                  </a:cubicBezTo>
                  <a:cubicBezTo>
                    <a:pt x="414" y="0"/>
                    <a:pt x="526" y="111"/>
                    <a:pt x="526" y="251"/>
                  </a:cubicBezTo>
                  <a:cubicBezTo>
                    <a:pt x="526" y="253"/>
                    <a:pt x="526" y="253"/>
                    <a:pt x="526" y="253"/>
                  </a:cubicBezTo>
                  <a:cubicBezTo>
                    <a:pt x="526" y="392"/>
                    <a:pt x="413" y="505"/>
                    <a:pt x="262" y="505"/>
                  </a:cubicBezTo>
                  <a:cubicBezTo>
                    <a:pt x="112" y="505"/>
                    <a:pt x="0" y="394"/>
                    <a:pt x="0" y="254"/>
                  </a:cubicBezTo>
                  <a:close/>
                  <a:moveTo>
                    <a:pt x="390" y="254"/>
                  </a:moveTo>
                  <a:cubicBezTo>
                    <a:pt x="390" y="253"/>
                    <a:pt x="390" y="253"/>
                    <a:pt x="390" y="253"/>
                  </a:cubicBezTo>
                  <a:cubicBezTo>
                    <a:pt x="390" y="181"/>
                    <a:pt x="338" y="119"/>
                    <a:pt x="262" y="119"/>
                  </a:cubicBezTo>
                  <a:cubicBezTo>
                    <a:pt x="183" y="119"/>
                    <a:pt x="136" y="179"/>
                    <a:pt x="136" y="251"/>
                  </a:cubicBezTo>
                  <a:cubicBezTo>
                    <a:pt x="136" y="253"/>
                    <a:pt x="136" y="253"/>
                    <a:pt x="136" y="253"/>
                  </a:cubicBezTo>
                  <a:cubicBezTo>
                    <a:pt x="136" y="324"/>
                    <a:pt x="188" y="387"/>
                    <a:pt x="264" y="387"/>
                  </a:cubicBezTo>
                  <a:cubicBezTo>
                    <a:pt x="343" y="387"/>
                    <a:pt x="390" y="326"/>
                    <a:pt x="39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20">
              <a:extLst>
                <a:ext uri="{FF2B5EF4-FFF2-40B4-BE49-F238E27FC236}">
                  <a16:creationId xmlns:a16="http://schemas.microsoft.com/office/drawing/2014/main" id="{BDC10D2B-8240-1306-CC54-B3F0CF2378C2}"/>
                </a:ext>
              </a:extLst>
            </p:cNvPr>
            <p:cNvSpPr>
              <a:spLocks noEditPoints="1"/>
            </p:cNvSpPr>
            <p:nvPr userDrawn="1"/>
          </p:nvSpPr>
          <p:spPr bwMode="auto">
            <a:xfrm>
              <a:off x="6516057" y="938123"/>
              <a:ext cx="221197" cy="278823"/>
            </a:xfrm>
            <a:custGeom>
              <a:avLst/>
              <a:gdLst>
                <a:gd name="T0" fmla="*/ 24 w 509"/>
                <a:gd name="T1" fmla="*/ 590 h 641"/>
                <a:gd name="T2" fmla="*/ 71 w 509"/>
                <a:gd name="T3" fmla="*/ 487 h 641"/>
                <a:gd name="T4" fmla="*/ 235 w 509"/>
                <a:gd name="T5" fmla="*/ 531 h 641"/>
                <a:gd name="T6" fmla="*/ 373 w 509"/>
                <a:gd name="T7" fmla="*/ 399 h 641"/>
                <a:gd name="T8" fmla="*/ 373 w 509"/>
                <a:gd name="T9" fmla="*/ 376 h 641"/>
                <a:gd name="T10" fmla="*/ 215 w 509"/>
                <a:gd name="T11" fmla="*/ 454 h 641"/>
                <a:gd name="T12" fmla="*/ 0 w 509"/>
                <a:gd name="T13" fmla="*/ 228 h 641"/>
                <a:gd name="T14" fmla="*/ 0 w 509"/>
                <a:gd name="T15" fmla="*/ 226 h 641"/>
                <a:gd name="T16" fmla="*/ 215 w 509"/>
                <a:gd name="T17" fmla="*/ 0 h 641"/>
                <a:gd name="T18" fmla="*/ 372 w 509"/>
                <a:gd name="T19" fmla="*/ 72 h 641"/>
                <a:gd name="T20" fmla="*/ 372 w 509"/>
                <a:gd name="T21" fmla="*/ 9 h 641"/>
                <a:gd name="T22" fmla="*/ 509 w 509"/>
                <a:gd name="T23" fmla="*/ 9 h 641"/>
                <a:gd name="T24" fmla="*/ 509 w 509"/>
                <a:gd name="T25" fmla="*/ 385 h 641"/>
                <a:gd name="T26" fmla="*/ 448 w 509"/>
                <a:gd name="T27" fmla="*/ 576 h 641"/>
                <a:gd name="T28" fmla="*/ 239 w 509"/>
                <a:gd name="T29" fmla="*/ 641 h 641"/>
                <a:gd name="T30" fmla="*/ 24 w 509"/>
                <a:gd name="T31" fmla="*/ 590 h 641"/>
                <a:gd name="T32" fmla="*/ 373 w 509"/>
                <a:gd name="T33" fmla="*/ 228 h 641"/>
                <a:gd name="T34" fmla="*/ 373 w 509"/>
                <a:gd name="T35" fmla="*/ 226 h 641"/>
                <a:gd name="T36" fmla="*/ 255 w 509"/>
                <a:gd name="T37" fmla="*/ 114 h 641"/>
                <a:gd name="T38" fmla="*/ 137 w 509"/>
                <a:gd name="T39" fmla="*/ 226 h 641"/>
                <a:gd name="T40" fmla="*/ 137 w 509"/>
                <a:gd name="T41" fmla="*/ 228 h 641"/>
                <a:gd name="T42" fmla="*/ 255 w 509"/>
                <a:gd name="T43" fmla="*/ 340 h 641"/>
                <a:gd name="T44" fmla="*/ 373 w 509"/>
                <a:gd name="T45" fmla="*/ 2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9" h="641">
                  <a:moveTo>
                    <a:pt x="24" y="590"/>
                  </a:moveTo>
                  <a:cubicBezTo>
                    <a:pt x="71" y="487"/>
                    <a:pt x="71" y="487"/>
                    <a:pt x="71" y="487"/>
                  </a:cubicBezTo>
                  <a:cubicBezTo>
                    <a:pt x="121" y="515"/>
                    <a:pt x="171" y="531"/>
                    <a:pt x="235" y="531"/>
                  </a:cubicBezTo>
                  <a:cubicBezTo>
                    <a:pt x="329" y="531"/>
                    <a:pt x="373" y="486"/>
                    <a:pt x="373" y="399"/>
                  </a:cubicBezTo>
                  <a:cubicBezTo>
                    <a:pt x="373" y="376"/>
                    <a:pt x="373" y="376"/>
                    <a:pt x="373" y="376"/>
                  </a:cubicBezTo>
                  <a:cubicBezTo>
                    <a:pt x="333" y="425"/>
                    <a:pt x="288" y="454"/>
                    <a:pt x="215" y="454"/>
                  </a:cubicBezTo>
                  <a:cubicBezTo>
                    <a:pt x="102" y="454"/>
                    <a:pt x="0" y="372"/>
                    <a:pt x="0" y="228"/>
                  </a:cubicBezTo>
                  <a:cubicBezTo>
                    <a:pt x="0" y="226"/>
                    <a:pt x="0" y="226"/>
                    <a:pt x="0" y="226"/>
                  </a:cubicBezTo>
                  <a:cubicBezTo>
                    <a:pt x="0" y="82"/>
                    <a:pt x="104" y="0"/>
                    <a:pt x="215" y="0"/>
                  </a:cubicBezTo>
                  <a:cubicBezTo>
                    <a:pt x="290" y="0"/>
                    <a:pt x="334" y="32"/>
                    <a:pt x="372" y="72"/>
                  </a:cubicBezTo>
                  <a:cubicBezTo>
                    <a:pt x="372" y="9"/>
                    <a:pt x="372" y="9"/>
                    <a:pt x="372" y="9"/>
                  </a:cubicBezTo>
                  <a:cubicBezTo>
                    <a:pt x="509" y="9"/>
                    <a:pt x="509" y="9"/>
                    <a:pt x="509" y="9"/>
                  </a:cubicBezTo>
                  <a:cubicBezTo>
                    <a:pt x="509" y="385"/>
                    <a:pt x="509" y="385"/>
                    <a:pt x="509" y="385"/>
                  </a:cubicBezTo>
                  <a:cubicBezTo>
                    <a:pt x="509" y="472"/>
                    <a:pt x="488" y="535"/>
                    <a:pt x="448" y="576"/>
                  </a:cubicBezTo>
                  <a:cubicBezTo>
                    <a:pt x="402" y="621"/>
                    <a:pt x="333" y="641"/>
                    <a:pt x="239" y="641"/>
                  </a:cubicBezTo>
                  <a:cubicBezTo>
                    <a:pt x="160" y="641"/>
                    <a:pt x="86" y="623"/>
                    <a:pt x="24" y="590"/>
                  </a:cubicBezTo>
                  <a:close/>
                  <a:moveTo>
                    <a:pt x="373" y="228"/>
                  </a:moveTo>
                  <a:cubicBezTo>
                    <a:pt x="373" y="226"/>
                    <a:pt x="373" y="226"/>
                    <a:pt x="373" y="226"/>
                  </a:cubicBezTo>
                  <a:cubicBezTo>
                    <a:pt x="373" y="160"/>
                    <a:pt x="322" y="114"/>
                    <a:pt x="255" y="114"/>
                  </a:cubicBezTo>
                  <a:cubicBezTo>
                    <a:pt x="188" y="114"/>
                    <a:pt x="137" y="160"/>
                    <a:pt x="137" y="226"/>
                  </a:cubicBezTo>
                  <a:cubicBezTo>
                    <a:pt x="137" y="228"/>
                    <a:pt x="137" y="228"/>
                    <a:pt x="137" y="228"/>
                  </a:cubicBezTo>
                  <a:cubicBezTo>
                    <a:pt x="137" y="295"/>
                    <a:pt x="188" y="340"/>
                    <a:pt x="255" y="340"/>
                  </a:cubicBezTo>
                  <a:cubicBezTo>
                    <a:pt x="322" y="340"/>
                    <a:pt x="373" y="294"/>
                    <a:pt x="373"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21">
              <a:extLst>
                <a:ext uri="{FF2B5EF4-FFF2-40B4-BE49-F238E27FC236}">
                  <a16:creationId xmlns:a16="http://schemas.microsoft.com/office/drawing/2014/main" id="{A2A74FC7-B210-AC23-8BAD-A8CEF20144F7}"/>
                </a:ext>
              </a:extLst>
            </p:cNvPr>
            <p:cNvSpPr>
              <a:spLocks/>
            </p:cNvSpPr>
            <p:nvPr userDrawn="1"/>
          </p:nvSpPr>
          <p:spPr bwMode="auto">
            <a:xfrm>
              <a:off x="6747450" y="942113"/>
              <a:ext cx="219424" cy="275277"/>
            </a:xfrm>
            <a:custGeom>
              <a:avLst/>
              <a:gdLst>
                <a:gd name="T0" fmla="*/ 362 w 505"/>
                <a:gd name="T1" fmla="*/ 0 h 633"/>
                <a:gd name="T2" fmla="*/ 505 w 505"/>
                <a:gd name="T3" fmla="*/ 0 h 633"/>
                <a:gd name="T4" fmla="*/ 319 w 505"/>
                <a:gd name="T5" fmla="*/ 497 h 633"/>
                <a:gd name="T6" fmla="*/ 159 w 505"/>
                <a:gd name="T7" fmla="*/ 633 h 633"/>
                <a:gd name="T8" fmla="*/ 37 w 505"/>
                <a:gd name="T9" fmla="*/ 599 h 633"/>
                <a:gd name="T10" fmla="*/ 83 w 505"/>
                <a:gd name="T11" fmla="*/ 500 h 633"/>
                <a:gd name="T12" fmla="*/ 142 w 505"/>
                <a:gd name="T13" fmla="*/ 519 h 633"/>
                <a:gd name="T14" fmla="*/ 190 w 505"/>
                <a:gd name="T15" fmla="*/ 487 h 633"/>
                <a:gd name="T16" fmla="*/ 0 w 505"/>
                <a:gd name="T17" fmla="*/ 0 h 633"/>
                <a:gd name="T18" fmla="*/ 146 w 505"/>
                <a:gd name="T19" fmla="*/ 0 h 633"/>
                <a:gd name="T20" fmla="*/ 256 w 505"/>
                <a:gd name="T21" fmla="*/ 331 h 633"/>
                <a:gd name="T22" fmla="*/ 362 w 505"/>
                <a:gd name="T2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633">
                  <a:moveTo>
                    <a:pt x="362" y="0"/>
                  </a:moveTo>
                  <a:cubicBezTo>
                    <a:pt x="505" y="0"/>
                    <a:pt x="505" y="0"/>
                    <a:pt x="505" y="0"/>
                  </a:cubicBezTo>
                  <a:cubicBezTo>
                    <a:pt x="319" y="497"/>
                    <a:pt x="319" y="497"/>
                    <a:pt x="319" y="497"/>
                  </a:cubicBezTo>
                  <a:cubicBezTo>
                    <a:pt x="282" y="596"/>
                    <a:pt x="242" y="633"/>
                    <a:pt x="159" y="633"/>
                  </a:cubicBezTo>
                  <a:cubicBezTo>
                    <a:pt x="110" y="633"/>
                    <a:pt x="73" y="620"/>
                    <a:pt x="37" y="599"/>
                  </a:cubicBezTo>
                  <a:cubicBezTo>
                    <a:pt x="83" y="500"/>
                    <a:pt x="83" y="500"/>
                    <a:pt x="83" y="500"/>
                  </a:cubicBezTo>
                  <a:cubicBezTo>
                    <a:pt x="101" y="511"/>
                    <a:pt x="124" y="519"/>
                    <a:pt x="142" y="519"/>
                  </a:cubicBezTo>
                  <a:cubicBezTo>
                    <a:pt x="166" y="519"/>
                    <a:pt x="178" y="512"/>
                    <a:pt x="190" y="487"/>
                  </a:cubicBezTo>
                  <a:cubicBezTo>
                    <a:pt x="0" y="0"/>
                    <a:pt x="0" y="0"/>
                    <a:pt x="0" y="0"/>
                  </a:cubicBezTo>
                  <a:cubicBezTo>
                    <a:pt x="146" y="0"/>
                    <a:pt x="146" y="0"/>
                    <a:pt x="146" y="0"/>
                  </a:cubicBezTo>
                  <a:cubicBezTo>
                    <a:pt x="256" y="331"/>
                    <a:pt x="256" y="331"/>
                    <a:pt x="256" y="331"/>
                  </a:cubicBez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22">
              <a:extLst>
                <a:ext uri="{FF2B5EF4-FFF2-40B4-BE49-F238E27FC236}">
                  <a16:creationId xmlns:a16="http://schemas.microsoft.com/office/drawing/2014/main" id="{ACC82ECF-72D6-6ED9-EF73-7495DE192F95}"/>
                </a:ext>
              </a:extLst>
            </p:cNvPr>
            <p:cNvSpPr>
              <a:spLocks/>
            </p:cNvSpPr>
            <p:nvPr userDrawn="1"/>
          </p:nvSpPr>
          <p:spPr bwMode="auto">
            <a:xfrm>
              <a:off x="6005842" y="1258171"/>
              <a:ext cx="132541" cy="290348"/>
            </a:xfrm>
            <a:custGeom>
              <a:avLst/>
              <a:gdLst>
                <a:gd name="T0" fmla="*/ 57 w 305"/>
                <a:gd name="T1" fmla="*/ 299 h 667"/>
                <a:gd name="T2" fmla="*/ 0 w 305"/>
                <a:gd name="T3" fmla="*/ 299 h 667"/>
                <a:gd name="T4" fmla="*/ 0 w 305"/>
                <a:gd name="T5" fmla="*/ 186 h 667"/>
                <a:gd name="T6" fmla="*/ 57 w 305"/>
                <a:gd name="T7" fmla="*/ 186 h 667"/>
                <a:gd name="T8" fmla="*/ 57 w 305"/>
                <a:gd name="T9" fmla="*/ 155 h 667"/>
                <a:gd name="T10" fmla="*/ 96 w 305"/>
                <a:gd name="T11" fmla="*/ 38 h 667"/>
                <a:gd name="T12" fmla="*/ 208 w 305"/>
                <a:gd name="T13" fmla="*/ 0 h 667"/>
                <a:gd name="T14" fmla="*/ 305 w 305"/>
                <a:gd name="T15" fmla="*/ 13 h 667"/>
                <a:gd name="T16" fmla="*/ 305 w 305"/>
                <a:gd name="T17" fmla="*/ 127 h 667"/>
                <a:gd name="T18" fmla="*/ 243 w 305"/>
                <a:gd name="T19" fmla="*/ 115 h 667"/>
                <a:gd name="T20" fmla="*/ 193 w 305"/>
                <a:gd name="T21" fmla="*/ 168 h 667"/>
                <a:gd name="T22" fmla="*/ 193 w 305"/>
                <a:gd name="T23" fmla="*/ 187 h 667"/>
                <a:gd name="T24" fmla="*/ 305 w 305"/>
                <a:gd name="T25" fmla="*/ 187 h 667"/>
                <a:gd name="T26" fmla="*/ 305 w 305"/>
                <a:gd name="T27" fmla="*/ 299 h 667"/>
                <a:gd name="T28" fmla="*/ 195 w 305"/>
                <a:gd name="T29" fmla="*/ 299 h 667"/>
                <a:gd name="T30" fmla="*/ 195 w 305"/>
                <a:gd name="T31" fmla="*/ 667 h 667"/>
                <a:gd name="T32" fmla="*/ 57 w 305"/>
                <a:gd name="T33" fmla="*/ 667 h 667"/>
                <a:gd name="T34" fmla="*/ 57 w 305"/>
                <a:gd name="T35" fmla="*/ 29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667">
                  <a:moveTo>
                    <a:pt x="57" y="299"/>
                  </a:moveTo>
                  <a:cubicBezTo>
                    <a:pt x="0" y="299"/>
                    <a:pt x="0" y="299"/>
                    <a:pt x="0" y="299"/>
                  </a:cubicBezTo>
                  <a:cubicBezTo>
                    <a:pt x="0" y="186"/>
                    <a:pt x="0" y="186"/>
                    <a:pt x="0" y="186"/>
                  </a:cubicBezTo>
                  <a:cubicBezTo>
                    <a:pt x="57" y="186"/>
                    <a:pt x="57" y="186"/>
                    <a:pt x="57" y="186"/>
                  </a:cubicBezTo>
                  <a:cubicBezTo>
                    <a:pt x="57" y="155"/>
                    <a:pt x="57" y="155"/>
                    <a:pt x="57" y="155"/>
                  </a:cubicBezTo>
                  <a:cubicBezTo>
                    <a:pt x="57" y="102"/>
                    <a:pt x="71" y="63"/>
                    <a:pt x="96" y="38"/>
                  </a:cubicBezTo>
                  <a:cubicBezTo>
                    <a:pt x="122" y="12"/>
                    <a:pt x="159" y="0"/>
                    <a:pt x="208" y="0"/>
                  </a:cubicBezTo>
                  <a:cubicBezTo>
                    <a:pt x="251" y="0"/>
                    <a:pt x="280" y="5"/>
                    <a:pt x="305" y="13"/>
                  </a:cubicBezTo>
                  <a:cubicBezTo>
                    <a:pt x="305" y="127"/>
                    <a:pt x="305" y="127"/>
                    <a:pt x="305" y="127"/>
                  </a:cubicBezTo>
                  <a:cubicBezTo>
                    <a:pt x="286" y="120"/>
                    <a:pt x="267" y="115"/>
                    <a:pt x="243" y="115"/>
                  </a:cubicBezTo>
                  <a:cubicBezTo>
                    <a:pt x="211" y="115"/>
                    <a:pt x="193" y="132"/>
                    <a:pt x="193" y="168"/>
                  </a:cubicBezTo>
                  <a:cubicBezTo>
                    <a:pt x="193" y="187"/>
                    <a:pt x="193" y="187"/>
                    <a:pt x="193" y="187"/>
                  </a:cubicBezTo>
                  <a:cubicBezTo>
                    <a:pt x="305" y="187"/>
                    <a:pt x="305" y="187"/>
                    <a:pt x="305" y="187"/>
                  </a:cubicBezTo>
                  <a:cubicBezTo>
                    <a:pt x="305" y="299"/>
                    <a:pt x="305" y="299"/>
                    <a:pt x="305" y="299"/>
                  </a:cubicBezTo>
                  <a:cubicBezTo>
                    <a:pt x="195" y="299"/>
                    <a:pt x="195" y="299"/>
                    <a:pt x="195" y="299"/>
                  </a:cubicBezTo>
                  <a:cubicBezTo>
                    <a:pt x="195" y="667"/>
                    <a:pt x="195" y="667"/>
                    <a:pt x="195" y="667"/>
                  </a:cubicBezTo>
                  <a:cubicBezTo>
                    <a:pt x="57" y="667"/>
                    <a:pt x="57" y="667"/>
                    <a:pt x="57" y="667"/>
                  </a:cubicBezTo>
                  <a:lnTo>
                    <a:pt x="57"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23">
              <a:extLst>
                <a:ext uri="{FF2B5EF4-FFF2-40B4-BE49-F238E27FC236}">
                  <a16:creationId xmlns:a16="http://schemas.microsoft.com/office/drawing/2014/main" id="{22DAB937-2E79-C195-4D0E-AD10E570DD17}"/>
                </a:ext>
              </a:extLst>
            </p:cNvPr>
            <p:cNvSpPr>
              <a:spLocks noEditPoints="1"/>
            </p:cNvSpPr>
            <p:nvPr userDrawn="1"/>
          </p:nvSpPr>
          <p:spPr bwMode="auto">
            <a:xfrm>
              <a:off x="6137497" y="1333086"/>
              <a:ext cx="228289" cy="219867"/>
            </a:xfrm>
            <a:custGeom>
              <a:avLst/>
              <a:gdLst>
                <a:gd name="T0" fmla="*/ 0 w 525"/>
                <a:gd name="T1" fmla="*/ 255 h 506"/>
                <a:gd name="T2" fmla="*/ 0 w 525"/>
                <a:gd name="T3" fmla="*/ 253 h 506"/>
                <a:gd name="T4" fmla="*/ 263 w 525"/>
                <a:gd name="T5" fmla="*/ 0 h 506"/>
                <a:gd name="T6" fmla="*/ 525 w 525"/>
                <a:gd name="T7" fmla="*/ 251 h 506"/>
                <a:gd name="T8" fmla="*/ 525 w 525"/>
                <a:gd name="T9" fmla="*/ 253 h 506"/>
                <a:gd name="T10" fmla="*/ 261 w 525"/>
                <a:gd name="T11" fmla="*/ 506 h 506"/>
                <a:gd name="T12" fmla="*/ 0 w 525"/>
                <a:gd name="T13" fmla="*/ 255 h 506"/>
                <a:gd name="T14" fmla="*/ 389 w 525"/>
                <a:gd name="T15" fmla="*/ 255 h 506"/>
                <a:gd name="T16" fmla="*/ 389 w 525"/>
                <a:gd name="T17" fmla="*/ 253 h 506"/>
                <a:gd name="T18" fmla="*/ 261 w 525"/>
                <a:gd name="T19" fmla="*/ 119 h 506"/>
                <a:gd name="T20" fmla="*/ 135 w 525"/>
                <a:gd name="T21" fmla="*/ 251 h 506"/>
                <a:gd name="T22" fmla="*/ 135 w 525"/>
                <a:gd name="T23" fmla="*/ 253 h 506"/>
                <a:gd name="T24" fmla="*/ 263 w 525"/>
                <a:gd name="T25" fmla="*/ 387 h 506"/>
                <a:gd name="T26" fmla="*/ 389 w 525"/>
                <a:gd name="T27" fmla="*/ 25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6">
                  <a:moveTo>
                    <a:pt x="0" y="255"/>
                  </a:moveTo>
                  <a:cubicBezTo>
                    <a:pt x="0" y="253"/>
                    <a:pt x="0" y="253"/>
                    <a:pt x="0" y="253"/>
                  </a:cubicBezTo>
                  <a:cubicBezTo>
                    <a:pt x="0" y="114"/>
                    <a:pt x="112" y="0"/>
                    <a:pt x="263" y="0"/>
                  </a:cubicBezTo>
                  <a:cubicBezTo>
                    <a:pt x="413" y="0"/>
                    <a:pt x="525" y="112"/>
                    <a:pt x="525" y="251"/>
                  </a:cubicBezTo>
                  <a:cubicBezTo>
                    <a:pt x="525" y="253"/>
                    <a:pt x="525" y="253"/>
                    <a:pt x="525" y="253"/>
                  </a:cubicBezTo>
                  <a:cubicBezTo>
                    <a:pt x="525" y="392"/>
                    <a:pt x="412" y="506"/>
                    <a:pt x="261" y="506"/>
                  </a:cubicBezTo>
                  <a:cubicBezTo>
                    <a:pt x="111" y="506"/>
                    <a:pt x="0" y="394"/>
                    <a:pt x="0" y="255"/>
                  </a:cubicBezTo>
                  <a:close/>
                  <a:moveTo>
                    <a:pt x="389" y="255"/>
                  </a:moveTo>
                  <a:cubicBezTo>
                    <a:pt x="389" y="253"/>
                    <a:pt x="389" y="253"/>
                    <a:pt x="389" y="253"/>
                  </a:cubicBezTo>
                  <a:cubicBezTo>
                    <a:pt x="389" y="182"/>
                    <a:pt x="337" y="119"/>
                    <a:pt x="261" y="119"/>
                  </a:cubicBezTo>
                  <a:cubicBezTo>
                    <a:pt x="183" y="119"/>
                    <a:pt x="135" y="180"/>
                    <a:pt x="135" y="251"/>
                  </a:cubicBezTo>
                  <a:cubicBezTo>
                    <a:pt x="135" y="253"/>
                    <a:pt x="135" y="253"/>
                    <a:pt x="135" y="253"/>
                  </a:cubicBezTo>
                  <a:cubicBezTo>
                    <a:pt x="135" y="325"/>
                    <a:pt x="187" y="387"/>
                    <a:pt x="263" y="387"/>
                  </a:cubicBezTo>
                  <a:cubicBezTo>
                    <a:pt x="342" y="387"/>
                    <a:pt x="389" y="326"/>
                    <a:pt x="389"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24">
              <a:extLst>
                <a:ext uri="{FF2B5EF4-FFF2-40B4-BE49-F238E27FC236}">
                  <a16:creationId xmlns:a16="http://schemas.microsoft.com/office/drawing/2014/main" id="{10B466F6-F9DE-C9E9-D98F-5CB17B8BE4DB}"/>
                </a:ext>
              </a:extLst>
            </p:cNvPr>
            <p:cNvSpPr>
              <a:spLocks/>
            </p:cNvSpPr>
            <p:nvPr userDrawn="1"/>
          </p:nvSpPr>
          <p:spPr bwMode="auto">
            <a:xfrm>
              <a:off x="6379084" y="1331756"/>
              <a:ext cx="127665" cy="216764"/>
            </a:xfrm>
            <a:custGeom>
              <a:avLst/>
              <a:gdLst>
                <a:gd name="T0" fmla="*/ 0 w 293"/>
                <a:gd name="T1" fmla="*/ 13 h 498"/>
                <a:gd name="T2" fmla="*/ 138 w 293"/>
                <a:gd name="T3" fmla="*/ 13 h 498"/>
                <a:gd name="T4" fmla="*/ 138 w 293"/>
                <a:gd name="T5" fmla="*/ 110 h 498"/>
                <a:gd name="T6" fmla="*/ 293 w 293"/>
                <a:gd name="T7" fmla="*/ 3 h 498"/>
                <a:gd name="T8" fmla="*/ 293 w 293"/>
                <a:gd name="T9" fmla="*/ 147 h 498"/>
                <a:gd name="T10" fmla="*/ 286 w 293"/>
                <a:gd name="T11" fmla="*/ 147 h 498"/>
                <a:gd name="T12" fmla="*/ 138 w 293"/>
                <a:gd name="T13" fmla="*/ 318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0"/>
                    <a:pt x="138" y="110"/>
                    <a:pt x="138" y="110"/>
                  </a:cubicBezTo>
                  <a:cubicBezTo>
                    <a:pt x="166" y="43"/>
                    <a:pt x="211" y="0"/>
                    <a:pt x="293" y="3"/>
                  </a:cubicBezTo>
                  <a:cubicBezTo>
                    <a:pt x="293" y="147"/>
                    <a:pt x="293" y="147"/>
                    <a:pt x="293" y="147"/>
                  </a:cubicBezTo>
                  <a:cubicBezTo>
                    <a:pt x="286" y="147"/>
                    <a:pt x="286" y="147"/>
                    <a:pt x="286" y="147"/>
                  </a:cubicBezTo>
                  <a:cubicBezTo>
                    <a:pt x="194" y="147"/>
                    <a:pt x="138" y="203"/>
                    <a:pt x="138" y="318"/>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25">
              <a:extLst>
                <a:ext uri="{FF2B5EF4-FFF2-40B4-BE49-F238E27FC236}">
                  <a16:creationId xmlns:a16="http://schemas.microsoft.com/office/drawing/2014/main" id="{AD3E18E3-90EA-4D54-E039-6221DAC55953}"/>
                </a:ext>
              </a:extLst>
            </p:cNvPr>
            <p:cNvSpPr>
              <a:spLocks noEditPoints="1"/>
            </p:cNvSpPr>
            <p:nvPr userDrawn="1"/>
          </p:nvSpPr>
          <p:spPr bwMode="auto">
            <a:xfrm>
              <a:off x="6582993" y="1334859"/>
              <a:ext cx="194157" cy="217207"/>
            </a:xfrm>
            <a:custGeom>
              <a:avLst/>
              <a:gdLst>
                <a:gd name="T0" fmla="*/ 0 w 446"/>
                <a:gd name="T1" fmla="*/ 351 h 500"/>
                <a:gd name="T2" fmla="*/ 0 w 446"/>
                <a:gd name="T3" fmla="*/ 349 h 500"/>
                <a:gd name="T4" fmla="*/ 195 w 446"/>
                <a:gd name="T5" fmla="*/ 195 h 500"/>
                <a:gd name="T6" fmla="*/ 314 w 446"/>
                <a:gd name="T7" fmla="*/ 215 h 500"/>
                <a:gd name="T8" fmla="*/ 314 w 446"/>
                <a:gd name="T9" fmla="*/ 206 h 500"/>
                <a:gd name="T10" fmla="*/ 210 w 446"/>
                <a:gd name="T11" fmla="*/ 118 h 500"/>
                <a:gd name="T12" fmla="*/ 76 w 446"/>
                <a:gd name="T13" fmla="*/ 144 h 500"/>
                <a:gd name="T14" fmla="*/ 42 w 446"/>
                <a:gd name="T15" fmla="*/ 39 h 500"/>
                <a:gd name="T16" fmla="*/ 230 w 446"/>
                <a:gd name="T17" fmla="*/ 0 h 500"/>
                <a:gd name="T18" fmla="*/ 394 w 446"/>
                <a:gd name="T19" fmla="*/ 54 h 500"/>
                <a:gd name="T20" fmla="*/ 446 w 446"/>
                <a:gd name="T21" fmla="*/ 209 h 500"/>
                <a:gd name="T22" fmla="*/ 446 w 446"/>
                <a:gd name="T23" fmla="*/ 491 h 500"/>
                <a:gd name="T24" fmla="*/ 313 w 446"/>
                <a:gd name="T25" fmla="*/ 491 h 500"/>
                <a:gd name="T26" fmla="*/ 313 w 446"/>
                <a:gd name="T27" fmla="*/ 438 h 500"/>
                <a:gd name="T28" fmla="*/ 167 w 446"/>
                <a:gd name="T29" fmla="*/ 500 h 500"/>
                <a:gd name="T30" fmla="*/ 0 w 446"/>
                <a:gd name="T31" fmla="*/ 351 h 500"/>
                <a:gd name="T32" fmla="*/ 316 w 446"/>
                <a:gd name="T33" fmla="*/ 320 h 500"/>
                <a:gd name="T34" fmla="*/ 316 w 446"/>
                <a:gd name="T35" fmla="*/ 295 h 500"/>
                <a:gd name="T36" fmla="*/ 228 w 446"/>
                <a:gd name="T37" fmla="*/ 277 h 500"/>
                <a:gd name="T38" fmla="*/ 133 w 446"/>
                <a:gd name="T39" fmla="*/ 344 h 500"/>
                <a:gd name="T40" fmla="*/ 133 w 446"/>
                <a:gd name="T41" fmla="*/ 346 h 500"/>
                <a:gd name="T42" fmla="*/ 208 w 446"/>
                <a:gd name="T43" fmla="*/ 405 h 500"/>
                <a:gd name="T44" fmla="*/ 316 w 446"/>
                <a:gd name="T45" fmla="*/ 3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500">
                  <a:moveTo>
                    <a:pt x="0" y="351"/>
                  </a:moveTo>
                  <a:cubicBezTo>
                    <a:pt x="0" y="349"/>
                    <a:pt x="0" y="349"/>
                    <a:pt x="0" y="349"/>
                  </a:cubicBezTo>
                  <a:cubicBezTo>
                    <a:pt x="0" y="244"/>
                    <a:pt x="81" y="195"/>
                    <a:pt x="195" y="195"/>
                  </a:cubicBezTo>
                  <a:cubicBezTo>
                    <a:pt x="244" y="195"/>
                    <a:pt x="280" y="203"/>
                    <a:pt x="314" y="215"/>
                  </a:cubicBezTo>
                  <a:cubicBezTo>
                    <a:pt x="314" y="206"/>
                    <a:pt x="314" y="206"/>
                    <a:pt x="314" y="206"/>
                  </a:cubicBezTo>
                  <a:cubicBezTo>
                    <a:pt x="314" y="149"/>
                    <a:pt x="279" y="118"/>
                    <a:pt x="210" y="118"/>
                  </a:cubicBezTo>
                  <a:cubicBezTo>
                    <a:pt x="157" y="118"/>
                    <a:pt x="120" y="128"/>
                    <a:pt x="76" y="144"/>
                  </a:cubicBezTo>
                  <a:cubicBezTo>
                    <a:pt x="42" y="39"/>
                    <a:pt x="42" y="39"/>
                    <a:pt x="42" y="39"/>
                  </a:cubicBezTo>
                  <a:cubicBezTo>
                    <a:pt x="95" y="15"/>
                    <a:pt x="148" y="0"/>
                    <a:pt x="230" y="0"/>
                  </a:cubicBezTo>
                  <a:cubicBezTo>
                    <a:pt x="305" y="0"/>
                    <a:pt x="359" y="20"/>
                    <a:pt x="394" y="54"/>
                  </a:cubicBezTo>
                  <a:cubicBezTo>
                    <a:pt x="430" y="91"/>
                    <a:pt x="446" y="144"/>
                    <a:pt x="446" y="209"/>
                  </a:cubicBezTo>
                  <a:cubicBezTo>
                    <a:pt x="446" y="491"/>
                    <a:pt x="446" y="491"/>
                    <a:pt x="446" y="491"/>
                  </a:cubicBezTo>
                  <a:cubicBezTo>
                    <a:pt x="313" y="491"/>
                    <a:pt x="313" y="491"/>
                    <a:pt x="313" y="491"/>
                  </a:cubicBezTo>
                  <a:cubicBezTo>
                    <a:pt x="313" y="438"/>
                    <a:pt x="313" y="438"/>
                    <a:pt x="313" y="438"/>
                  </a:cubicBezTo>
                  <a:cubicBezTo>
                    <a:pt x="280" y="475"/>
                    <a:pt x="234" y="500"/>
                    <a:pt x="167" y="500"/>
                  </a:cubicBezTo>
                  <a:cubicBezTo>
                    <a:pt x="75" y="500"/>
                    <a:pt x="0" y="447"/>
                    <a:pt x="0" y="351"/>
                  </a:cubicBezTo>
                  <a:close/>
                  <a:moveTo>
                    <a:pt x="316" y="320"/>
                  </a:moveTo>
                  <a:cubicBezTo>
                    <a:pt x="316" y="295"/>
                    <a:pt x="316" y="295"/>
                    <a:pt x="316" y="295"/>
                  </a:cubicBezTo>
                  <a:cubicBezTo>
                    <a:pt x="292" y="284"/>
                    <a:pt x="262" y="277"/>
                    <a:pt x="228" y="277"/>
                  </a:cubicBezTo>
                  <a:cubicBezTo>
                    <a:pt x="169" y="277"/>
                    <a:pt x="133" y="301"/>
                    <a:pt x="133" y="344"/>
                  </a:cubicBezTo>
                  <a:cubicBezTo>
                    <a:pt x="133" y="346"/>
                    <a:pt x="133" y="346"/>
                    <a:pt x="133" y="346"/>
                  </a:cubicBezTo>
                  <a:cubicBezTo>
                    <a:pt x="133" y="383"/>
                    <a:pt x="164" y="405"/>
                    <a:pt x="208" y="405"/>
                  </a:cubicBezTo>
                  <a:cubicBezTo>
                    <a:pt x="272" y="405"/>
                    <a:pt x="316" y="369"/>
                    <a:pt x="31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Rectangle 26">
              <a:extLst>
                <a:ext uri="{FF2B5EF4-FFF2-40B4-BE49-F238E27FC236}">
                  <a16:creationId xmlns:a16="http://schemas.microsoft.com/office/drawing/2014/main" id="{144E16EA-4F3F-420C-5D8D-753A1E9F0B11}"/>
                </a:ext>
              </a:extLst>
            </p:cNvPr>
            <p:cNvSpPr>
              <a:spLocks noChangeArrowheads="1"/>
            </p:cNvSpPr>
            <p:nvPr userDrawn="1"/>
          </p:nvSpPr>
          <p:spPr bwMode="auto">
            <a:xfrm>
              <a:off x="6801973" y="1260831"/>
              <a:ext cx="59843"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Rectangle 27">
              <a:extLst>
                <a:ext uri="{FF2B5EF4-FFF2-40B4-BE49-F238E27FC236}">
                  <a16:creationId xmlns:a16="http://schemas.microsoft.com/office/drawing/2014/main" id="{E009FD22-AB72-D26D-205F-29DF66B5BFFA}"/>
                </a:ext>
              </a:extLst>
            </p:cNvPr>
            <p:cNvSpPr>
              <a:spLocks noChangeArrowheads="1"/>
            </p:cNvSpPr>
            <p:nvPr userDrawn="1"/>
          </p:nvSpPr>
          <p:spPr bwMode="auto">
            <a:xfrm>
              <a:off x="6886639" y="1260831"/>
              <a:ext cx="59399"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3" name="Group 2">
            <a:extLst>
              <a:ext uri="{FF2B5EF4-FFF2-40B4-BE49-F238E27FC236}">
                <a16:creationId xmlns:a16="http://schemas.microsoft.com/office/drawing/2014/main" id="{1C38DDA1-EC9C-CA43-6B38-399660A513F2}"/>
              </a:ext>
            </a:extLst>
          </p:cNvPr>
          <p:cNvGrpSpPr/>
          <p:nvPr userDrawn="1"/>
        </p:nvGrpSpPr>
        <p:grpSpPr>
          <a:xfrm>
            <a:off x="11559241" y="767096"/>
            <a:ext cx="634346" cy="1898696"/>
            <a:chOff x="11556230" y="767096"/>
            <a:chExt cx="634181" cy="1898696"/>
          </a:xfrm>
        </p:grpSpPr>
        <p:sp>
          <p:nvSpPr>
            <p:cNvPr id="77" name="Rectangle 28">
              <a:extLst>
                <a:ext uri="{FF2B5EF4-FFF2-40B4-BE49-F238E27FC236}">
                  <a16:creationId xmlns:a16="http://schemas.microsoft.com/office/drawing/2014/main" id="{FB305569-AB33-7799-ED76-68F103CE5B8C}"/>
                </a:ext>
              </a:extLst>
            </p:cNvPr>
            <p:cNvSpPr>
              <a:spLocks noChangeArrowheads="1"/>
            </p:cNvSpPr>
            <p:nvPr userDrawn="1"/>
          </p:nvSpPr>
          <p:spPr bwMode="auto">
            <a:xfrm>
              <a:off x="11556230" y="767096"/>
              <a:ext cx="634181" cy="189869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grpSp>
          <p:nvGrpSpPr>
            <p:cNvPr id="78" name="Group 77">
              <a:extLst>
                <a:ext uri="{FF2B5EF4-FFF2-40B4-BE49-F238E27FC236}">
                  <a16:creationId xmlns:a16="http://schemas.microsoft.com/office/drawing/2014/main" id="{DC4D5431-76CB-4561-B2E0-664C3E75E88C}"/>
                </a:ext>
              </a:extLst>
            </p:cNvPr>
            <p:cNvGrpSpPr/>
            <p:nvPr userDrawn="1"/>
          </p:nvGrpSpPr>
          <p:grpSpPr>
            <a:xfrm>
              <a:off x="11701122" y="936748"/>
              <a:ext cx="321494" cy="1552800"/>
              <a:chOff x="7313961" y="501936"/>
              <a:chExt cx="323594" cy="1566108"/>
            </a:xfrm>
          </p:grpSpPr>
          <p:sp>
            <p:nvSpPr>
              <p:cNvPr id="79" name="Freeform 29">
                <a:extLst>
                  <a:ext uri="{FF2B5EF4-FFF2-40B4-BE49-F238E27FC236}">
                    <a16:creationId xmlns:a16="http://schemas.microsoft.com/office/drawing/2014/main" id="{9EB7EA56-59D4-7E58-E9A3-5C4585DF00FE}"/>
                  </a:ext>
                </a:extLst>
              </p:cNvPr>
              <p:cNvSpPr>
                <a:spLocks/>
              </p:cNvSpPr>
              <p:nvPr userDrawn="1"/>
            </p:nvSpPr>
            <p:spPr bwMode="auto">
              <a:xfrm>
                <a:off x="7383556" y="1311808"/>
                <a:ext cx="249567" cy="247350"/>
              </a:xfrm>
              <a:custGeom>
                <a:avLst/>
                <a:gdLst>
                  <a:gd name="T0" fmla="*/ 0 w 574"/>
                  <a:gd name="T1" fmla="*/ 229 h 569"/>
                  <a:gd name="T2" fmla="*/ 90 w 574"/>
                  <a:gd name="T3" fmla="*/ 413 h 569"/>
                  <a:gd name="T4" fmla="*/ 90 w 574"/>
                  <a:gd name="T5" fmla="*/ 413 h 569"/>
                  <a:gd name="T6" fmla="*/ 90 w 574"/>
                  <a:gd name="T7" fmla="*/ 413 h 569"/>
                  <a:gd name="T8" fmla="*/ 9 w 574"/>
                  <a:gd name="T9" fmla="*/ 413 h 569"/>
                  <a:gd name="T10" fmla="*/ 9 w 574"/>
                  <a:gd name="T11" fmla="*/ 569 h 569"/>
                  <a:gd name="T12" fmla="*/ 574 w 574"/>
                  <a:gd name="T13" fmla="*/ 569 h 569"/>
                  <a:gd name="T14" fmla="*/ 574 w 574"/>
                  <a:gd name="T15" fmla="*/ 413 h 569"/>
                  <a:gd name="T16" fmla="*/ 253 w 574"/>
                  <a:gd name="T17" fmla="*/ 413 h 569"/>
                  <a:gd name="T18" fmla="*/ 133 w 574"/>
                  <a:gd name="T19" fmla="*/ 286 h 569"/>
                  <a:gd name="T20" fmla="*/ 253 w 574"/>
                  <a:gd name="T21" fmla="*/ 155 h 569"/>
                  <a:gd name="T22" fmla="*/ 574 w 574"/>
                  <a:gd name="T23" fmla="*/ 155 h 569"/>
                  <a:gd name="T24" fmla="*/ 574 w 574"/>
                  <a:gd name="T25" fmla="*/ 0 h 569"/>
                  <a:gd name="T26" fmla="*/ 224 w 574"/>
                  <a:gd name="T27" fmla="*/ 0 h 569"/>
                  <a:gd name="T28" fmla="*/ 0 w 574"/>
                  <a:gd name="T29" fmla="*/ 22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569">
                    <a:moveTo>
                      <a:pt x="0" y="229"/>
                    </a:moveTo>
                    <a:cubicBezTo>
                      <a:pt x="0" y="294"/>
                      <a:pt x="30" y="368"/>
                      <a:pt x="90" y="413"/>
                    </a:cubicBezTo>
                    <a:cubicBezTo>
                      <a:pt x="90" y="413"/>
                      <a:pt x="90" y="413"/>
                      <a:pt x="90" y="413"/>
                    </a:cubicBezTo>
                    <a:cubicBezTo>
                      <a:pt x="90" y="413"/>
                      <a:pt x="90" y="413"/>
                      <a:pt x="90" y="413"/>
                    </a:cubicBezTo>
                    <a:cubicBezTo>
                      <a:pt x="9" y="413"/>
                      <a:pt x="9" y="413"/>
                      <a:pt x="9" y="413"/>
                    </a:cubicBezTo>
                    <a:cubicBezTo>
                      <a:pt x="9" y="569"/>
                      <a:pt x="9" y="569"/>
                      <a:pt x="9" y="569"/>
                    </a:cubicBezTo>
                    <a:cubicBezTo>
                      <a:pt x="574" y="569"/>
                      <a:pt x="574" y="569"/>
                      <a:pt x="574" y="569"/>
                    </a:cubicBezTo>
                    <a:cubicBezTo>
                      <a:pt x="574" y="413"/>
                      <a:pt x="574" y="413"/>
                      <a:pt x="574" y="413"/>
                    </a:cubicBezTo>
                    <a:cubicBezTo>
                      <a:pt x="253" y="413"/>
                      <a:pt x="253" y="413"/>
                      <a:pt x="253" y="413"/>
                    </a:cubicBezTo>
                    <a:cubicBezTo>
                      <a:pt x="195" y="413"/>
                      <a:pt x="133" y="369"/>
                      <a:pt x="133" y="286"/>
                    </a:cubicBezTo>
                    <a:cubicBezTo>
                      <a:pt x="133" y="221"/>
                      <a:pt x="178" y="155"/>
                      <a:pt x="253" y="155"/>
                    </a:cubicBezTo>
                    <a:cubicBezTo>
                      <a:pt x="574" y="155"/>
                      <a:pt x="574" y="155"/>
                      <a:pt x="574" y="155"/>
                    </a:cubicBezTo>
                    <a:cubicBezTo>
                      <a:pt x="574" y="0"/>
                      <a:pt x="574" y="0"/>
                      <a:pt x="574" y="0"/>
                    </a:cubicBezTo>
                    <a:cubicBezTo>
                      <a:pt x="224" y="0"/>
                      <a:pt x="224" y="0"/>
                      <a:pt x="224" y="0"/>
                    </a:cubicBezTo>
                    <a:cubicBezTo>
                      <a:pt x="94" y="0"/>
                      <a:pt x="0" y="93"/>
                      <a:pt x="0" y="2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30">
                <a:extLst>
                  <a:ext uri="{FF2B5EF4-FFF2-40B4-BE49-F238E27FC236}">
                    <a16:creationId xmlns:a16="http://schemas.microsoft.com/office/drawing/2014/main" id="{93B05BBE-DBEC-684B-B012-F63384131C10}"/>
                  </a:ext>
                </a:extLst>
              </p:cNvPr>
              <p:cNvSpPr>
                <a:spLocks/>
              </p:cNvSpPr>
              <p:nvPr userDrawn="1"/>
            </p:nvSpPr>
            <p:spPr bwMode="auto">
              <a:xfrm>
                <a:off x="7387546" y="755049"/>
                <a:ext cx="245577" cy="276163"/>
              </a:xfrm>
              <a:custGeom>
                <a:avLst/>
                <a:gdLst>
                  <a:gd name="T0" fmla="*/ 0 w 554"/>
                  <a:gd name="T1" fmla="*/ 174 h 623"/>
                  <a:gd name="T2" fmla="*/ 377 w 554"/>
                  <a:gd name="T3" fmla="*/ 311 h 623"/>
                  <a:gd name="T4" fmla="*/ 0 w 554"/>
                  <a:gd name="T5" fmla="*/ 450 h 623"/>
                  <a:gd name="T6" fmla="*/ 0 w 554"/>
                  <a:gd name="T7" fmla="*/ 623 h 623"/>
                  <a:gd name="T8" fmla="*/ 554 w 554"/>
                  <a:gd name="T9" fmla="*/ 395 h 623"/>
                  <a:gd name="T10" fmla="*/ 554 w 554"/>
                  <a:gd name="T11" fmla="*/ 228 h 623"/>
                  <a:gd name="T12" fmla="*/ 0 w 554"/>
                  <a:gd name="T13" fmla="*/ 0 h 623"/>
                  <a:gd name="T14" fmla="*/ 0 w 554"/>
                  <a:gd name="T15" fmla="*/ 174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623">
                    <a:moveTo>
                      <a:pt x="0" y="174"/>
                    </a:moveTo>
                    <a:lnTo>
                      <a:pt x="377" y="311"/>
                    </a:lnTo>
                    <a:lnTo>
                      <a:pt x="0" y="450"/>
                    </a:lnTo>
                    <a:lnTo>
                      <a:pt x="0" y="623"/>
                    </a:lnTo>
                    <a:lnTo>
                      <a:pt x="554" y="395"/>
                    </a:lnTo>
                    <a:lnTo>
                      <a:pt x="554" y="228"/>
                    </a:lnTo>
                    <a:lnTo>
                      <a:pt x="0" y="0"/>
                    </a:lnTo>
                    <a:lnTo>
                      <a:pt x="0"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Freeform 31">
                <a:extLst>
                  <a:ext uri="{FF2B5EF4-FFF2-40B4-BE49-F238E27FC236}">
                    <a16:creationId xmlns:a16="http://schemas.microsoft.com/office/drawing/2014/main" id="{972F0292-22E7-DDB2-79F6-6703AF74768F}"/>
                  </a:ext>
                </a:extLst>
              </p:cNvPr>
              <p:cNvSpPr>
                <a:spLocks noEditPoints="1"/>
              </p:cNvSpPr>
              <p:nvPr userDrawn="1"/>
            </p:nvSpPr>
            <p:spPr bwMode="auto">
              <a:xfrm>
                <a:off x="7383556" y="1583096"/>
                <a:ext cx="253999" cy="256659"/>
              </a:xfrm>
              <a:custGeom>
                <a:avLst/>
                <a:gdLst>
                  <a:gd name="T0" fmla="*/ 401 w 584"/>
                  <a:gd name="T1" fmla="*/ 110 h 590"/>
                  <a:gd name="T2" fmla="*/ 460 w 584"/>
                  <a:gd name="T3" fmla="*/ 272 h 590"/>
                  <a:gd name="T4" fmla="*/ 415 w 584"/>
                  <a:gd name="T5" fmla="*/ 397 h 590"/>
                  <a:gd name="T6" fmla="*/ 250 w 584"/>
                  <a:gd name="T7" fmla="*/ 0 h 590"/>
                  <a:gd name="T8" fmla="*/ 92 w 584"/>
                  <a:gd name="T9" fmla="*/ 68 h 590"/>
                  <a:gd name="T10" fmla="*/ 0 w 584"/>
                  <a:gd name="T11" fmla="*/ 291 h 590"/>
                  <a:gd name="T12" fmla="*/ 292 w 584"/>
                  <a:gd name="T13" fmla="*/ 590 h 590"/>
                  <a:gd name="T14" fmla="*/ 584 w 584"/>
                  <a:gd name="T15" fmla="*/ 274 h 590"/>
                  <a:gd name="T16" fmla="*/ 476 w 584"/>
                  <a:gd name="T17" fmla="*/ 12 h 590"/>
                  <a:gd name="T18" fmla="*/ 401 w 584"/>
                  <a:gd name="T19" fmla="*/ 110 h 590"/>
                  <a:gd name="T20" fmla="*/ 179 w 584"/>
                  <a:gd name="T21" fmla="*/ 408 h 590"/>
                  <a:gd name="T22" fmla="*/ 123 w 584"/>
                  <a:gd name="T23" fmla="*/ 288 h 590"/>
                  <a:gd name="T24" fmla="*/ 202 w 584"/>
                  <a:gd name="T25" fmla="*/ 168 h 590"/>
                  <a:gd name="T26" fmla="*/ 315 w 584"/>
                  <a:gd name="T27" fmla="*/ 439 h 590"/>
                  <a:gd name="T28" fmla="*/ 179 w 584"/>
                  <a:gd name="T29" fmla="*/ 40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4" h="590">
                    <a:moveTo>
                      <a:pt x="401" y="110"/>
                    </a:moveTo>
                    <a:cubicBezTo>
                      <a:pt x="449" y="175"/>
                      <a:pt x="460" y="212"/>
                      <a:pt x="460" y="272"/>
                    </a:cubicBezTo>
                    <a:cubicBezTo>
                      <a:pt x="460" y="325"/>
                      <a:pt x="444" y="367"/>
                      <a:pt x="415" y="397"/>
                    </a:cubicBezTo>
                    <a:cubicBezTo>
                      <a:pt x="250" y="0"/>
                      <a:pt x="250" y="0"/>
                      <a:pt x="250" y="0"/>
                    </a:cubicBezTo>
                    <a:cubicBezTo>
                      <a:pt x="189" y="9"/>
                      <a:pt x="134" y="32"/>
                      <a:pt x="92" y="68"/>
                    </a:cubicBezTo>
                    <a:cubicBezTo>
                      <a:pt x="32" y="120"/>
                      <a:pt x="0" y="197"/>
                      <a:pt x="0" y="291"/>
                    </a:cubicBezTo>
                    <a:cubicBezTo>
                      <a:pt x="0" y="462"/>
                      <a:pt x="126" y="590"/>
                      <a:pt x="292" y="590"/>
                    </a:cubicBezTo>
                    <a:cubicBezTo>
                      <a:pt x="462" y="590"/>
                      <a:pt x="584" y="462"/>
                      <a:pt x="584" y="274"/>
                    </a:cubicBezTo>
                    <a:cubicBezTo>
                      <a:pt x="584" y="169"/>
                      <a:pt x="534" y="62"/>
                      <a:pt x="476" y="12"/>
                    </a:cubicBezTo>
                    <a:lnTo>
                      <a:pt x="401" y="110"/>
                    </a:lnTo>
                    <a:close/>
                    <a:moveTo>
                      <a:pt x="179" y="408"/>
                    </a:moveTo>
                    <a:cubicBezTo>
                      <a:pt x="144" y="381"/>
                      <a:pt x="123" y="339"/>
                      <a:pt x="123" y="288"/>
                    </a:cubicBezTo>
                    <a:cubicBezTo>
                      <a:pt x="123" y="232"/>
                      <a:pt x="155" y="190"/>
                      <a:pt x="202" y="168"/>
                    </a:cubicBezTo>
                    <a:cubicBezTo>
                      <a:pt x="315" y="439"/>
                      <a:pt x="315" y="439"/>
                      <a:pt x="315" y="439"/>
                    </a:cubicBezTo>
                    <a:cubicBezTo>
                      <a:pt x="257" y="447"/>
                      <a:pt x="212" y="432"/>
                      <a:pt x="179" y="4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Freeform 32">
                <a:extLst>
                  <a:ext uri="{FF2B5EF4-FFF2-40B4-BE49-F238E27FC236}">
                    <a16:creationId xmlns:a16="http://schemas.microsoft.com/office/drawing/2014/main" id="{8FB3E4DF-D685-E83E-C831-3D30D6486411}"/>
                  </a:ext>
                </a:extLst>
              </p:cNvPr>
              <p:cNvSpPr>
                <a:spLocks/>
              </p:cNvSpPr>
              <p:nvPr userDrawn="1"/>
            </p:nvSpPr>
            <p:spPr bwMode="auto">
              <a:xfrm>
                <a:off x="7313961" y="1846404"/>
                <a:ext cx="319161" cy="221640"/>
              </a:xfrm>
              <a:custGeom>
                <a:avLst/>
                <a:gdLst>
                  <a:gd name="T0" fmla="*/ 580 w 720"/>
                  <a:gd name="T1" fmla="*/ 0 h 500"/>
                  <a:gd name="T2" fmla="*/ 580 w 720"/>
                  <a:gd name="T3" fmla="*/ 346 h 500"/>
                  <a:gd name="T4" fmla="*/ 0 w 720"/>
                  <a:gd name="T5" fmla="*/ 346 h 500"/>
                  <a:gd name="T6" fmla="*/ 0 w 720"/>
                  <a:gd name="T7" fmla="*/ 500 h 500"/>
                  <a:gd name="T8" fmla="*/ 720 w 720"/>
                  <a:gd name="T9" fmla="*/ 500 h 500"/>
                  <a:gd name="T10" fmla="*/ 720 w 720"/>
                  <a:gd name="T11" fmla="*/ 0 h 500"/>
                  <a:gd name="T12" fmla="*/ 580 w 720"/>
                  <a:gd name="T13" fmla="*/ 0 h 500"/>
                </a:gdLst>
                <a:ahLst/>
                <a:cxnLst>
                  <a:cxn ang="0">
                    <a:pos x="T0" y="T1"/>
                  </a:cxn>
                  <a:cxn ang="0">
                    <a:pos x="T2" y="T3"/>
                  </a:cxn>
                  <a:cxn ang="0">
                    <a:pos x="T4" y="T5"/>
                  </a:cxn>
                  <a:cxn ang="0">
                    <a:pos x="T6" y="T7"/>
                  </a:cxn>
                  <a:cxn ang="0">
                    <a:pos x="T8" y="T9"/>
                  </a:cxn>
                  <a:cxn ang="0">
                    <a:pos x="T10" y="T11"/>
                  </a:cxn>
                  <a:cxn ang="0">
                    <a:pos x="T12" y="T13"/>
                  </a:cxn>
                </a:cxnLst>
                <a:rect l="0" t="0" r="r" b="b"/>
                <a:pathLst>
                  <a:path w="720" h="500">
                    <a:moveTo>
                      <a:pt x="580" y="0"/>
                    </a:moveTo>
                    <a:lnTo>
                      <a:pt x="580" y="346"/>
                    </a:lnTo>
                    <a:lnTo>
                      <a:pt x="0" y="346"/>
                    </a:lnTo>
                    <a:lnTo>
                      <a:pt x="0" y="500"/>
                    </a:lnTo>
                    <a:lnTo>
                      <a:pt x="720" y="500"/>
                    </a:lnTo>
                    <a:lnTo>
                      <a:pt x="720" y="0"/>
                    </a:lnTo>
                    <a:lnTo>
                      <a:pt x="5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33">
                <a:extLst>
                  <a:ext uri="{FF2B5EF4-FFF2-40B4-BE49-F238E27FC236}">
                    <a16:creationId xmlns:a16="http://schemas.microsoft.com/office/drawing/2014/main" id="{7E51460F-8A6D-E455-ADF5-BF3600A7DAC9}"/>
                  </a:ext>
                </a:extLst>
              </p:cNvPr>
              <p:cNvSpPr>
                <a:spLocks noEditPoints="1"/>
              </p:cNvSpPr>
              <p:nvPr userDrawn="1"/>
            </p:nvSpPr>
            <p:spPr bwMode="auto">
              <a:xfrm>
                <a:off x="7383556" y="501936"/>
                <a:ext cx="253999" cy="263752"/>
              </a:xfrm>
              <a:custGeom>
                <a:avLst/>
                <a:gdLst>
                  <a:gd name="T0" fmla="*/ 584 w 584"/>
                  <a:gd name="T1" fmla="*/ 304 h 607"/>
                  <a:gd name="T2" fmla="*/ 292 w 584"/>
                  <a:gd name="T3" fmla="*/ 607 h 607"/>
                  <a:gd name="T4" fmla="*/ 0 w 584"/>
                  <a:gd name="T5" fmla="*/ 302 h 607"/>
                  <a:gd name="T6" fmla="*/ 292 w 584"/>
                  <a:gd name="T7" fmla="*/ 0 h 607"/>
                  <a:gd name="T8" fmla="*/ 584 w 584"/>
                  <a:gd name="T9" fmla="*/ 304 h 607"/>
                  <a:gd name="T10" fmla="*/ 133 w 584"/>
                  <a:gd name="T11" fmla="*/ 304 h 607"/>
                  <a:gd name="T12" fmla="*/ 292 w 584"/>
                  <a:gd name="T13" fmla="*/ 454 h 607"/>
                  <a:gd name="T14" fmla="*/ 451 w 584"/>
                  <a:gd name="T15" fmla="*/ 302 h 607"/>
                  <a:gd name="T16" fmla="*/ 292 w 584"/>
                  <a:gd name="T17" fmla="*/ 153 h 607"/>
                  <a:gd name="T18" fmla="*/ 133 w 584"/>
                  <a:gd name="T19" fmla="*/ 30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4"/>
                    </a:moveTo>
                    <a:cubicBezTo>
                      <a:pt x="584" y="474"/>
                      <a:pt x="457" y="607"/>
                      <a:pt x="292" y="607"/>
                    </a:cubicBezTo>
                    <a:cubicBezTo>
                      <a:pt x="128" y="607"/>
                      <a:pt x="0" y="473"/>
                      <a:pt x="0" y="302"/>
                    </a:cubicBezTo>
                    <a:cubicBezTo>
                      <a:pt x="0" y="133"/>
                      <a:pt x="126" y="0"/>
                      <a:pt x="292" y="0"/>
                    </a:cubicBezTo>
                    <a:cubicBezTo>
                      <a:pt x="455" y="0"/>
                      <a:pt x="584" y="133"/>
                      <a:pt x="584" y="304"/>
                    </a:cubicBezTo>
                    <a:moveTo>
                      <a:pt x="133" y="304"/>
                    </a:moveTo>
                    <a:cubicBezTo>
                      <a:pt x="133" y="391"/>
                      <a:pt x="198" y="454"/>
                      <a:pt x="292" y="454"/>
                    </a:cubicBezTo>
                    <a:cubicBezTo>
                      <a:pt x="381" y="454"/>
                      <a:pt x="451" y="387"/>
                      <a:pt x="451" y="302"/>
                    </a:cubicBezTo>
                    <a:cubicBezTo>
                      <a:pt x="451" y="216"/>
                      <a:pt x="383" y="153"/>
                      <a:pt x="292" y="153"/>
                    </a:cubicBezTo>
                    <a:cubicBezTo>
                      <a:pt x="203" y="153"/>
                      <a:pt x="133" y="219"/>
                      <a:pt x="133" y="3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34">
                <a:extLst>
                  <a:ext uri="{FF2B5EF4-FFF2-40B4-BE49-F238E27FC236}">
                    <a16:creationId xmlns:a16="http://schemas.microsoft.com/office/drawing/2014/main" id="{9296505E-2DA9-07F7-31C5-6D802244B0F4}"/>
                  </a:ext>
                </a:extLst>
              </p:cNvPr>
              <p:cNvSpPr>
                <a:spLocks noEditPoints="1"/>
              </p:cNvSpPr>
              <p:nvPr userDrawn="1"/>
            </p:nvSpPr>
            <p:spPr bwMode="auto">
              <a:xfrm>
                <a:off x="7383556" y="1021017"/>
                <a:ext cx="253999" cy="263752"/>
              </a:xfrm>
              <a:custGeom>
                <a:avLst/>
                <a:gdLst>
                  <a:gd name="T0" fmla="*/ 584 w 584"/>
                  <a:gd name="T1" fmla="*/ 305 h 607"/>
                  <a:gd name="T2" fmla="*/ 292 w 584"/>
                  <a:gd name="T3" fmla="*/ 607 h 607"/>
                  <a:gd name="T4" fmla="*/ 0 w 584"/>
                  <a:gd name="T5" fmla="*/ 303 h 607"/>
                  <a:gd name="T6" fmla="*/ 292 w 584"/>
                  <a:gd name="T7" fmla="*/ 0 h 607"/>
                  <a:gd name="T8" fmla="*/ 584 w 584"/>
                  <a:gd name="T9" fmla="*/ 305 h 607"/>
                  <a:gd name="T10" fmla="*/ 133 w 584"/>
                  <a:gd name="T11" fmla="*/ 305 h 607"/>
                  <a:gd name="T12" fmla="*/ 292 w 584"/>
                  <a:gd name="T13" fmla="*/ 454 h 607"/>
                  <a:gd name="T14" fmla="*/ 451 w 584"/>
                  <a:gd name="T15" fmla="*/ 303 h 607"/>
                  <a:gd name="T16" fmla="*/ 292 w 584"/>
                  <a:gd name="T17" fmla="*/ 153 h 607"/>
                  <a:gd name="T18" fmla="*/ 133 w 584"/>
                  <a:gd name="T19" fmla="*/ 3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5"/>
                    </a:moveTo>
                    <a:cubicBezTo>
                      <a:pt x="584" y="474"/>
                      <a:pt x="457" y="607"/>
                      <a:pt x="292" y="607"/>
                    </a:cubicBezTo>
                    <a:cubicBezTo>
                      <a:pt x="128" y="607"/>
                      <a:pt x="0" y="474"/>
                      <a:pt x="0" y="303"/>
                    </a:cubicBezTo>
                    <a:cubicBezTo>
                      <a:pt x="0" y="133"/>
                      <a:pt x="126" y="0"/>
                      <a:pt x="292" y="0"/>
                    </a:cubicBezTo>
                    <a:cubicBezTo>
                      <a:pt x="455" y="0"/>
                      <a:pt x="584" y="134"/>
                      <a:pt x="584" y="305"/>
                    </a:cubicBezTo>
                    <a:moveTo>
                      <a:pt x="133" y="305"/>
                    </a:moveTo>
                    <a:cubicBezTo>
                      <a:pt x="133" y="391"/>
                      <a:pt x="198" y="454"/>
                      <a:pt x="292" y="454"/>
                    </a:cubicBezTo>
                    <a:cubicBezTo>
                      <a:pt x="381" y="454"/>
                      <a:pt x="451" y="388"/>
                      <a:pt x="451" y="303"/>
                    </a:cubicBezTo>
                    <a:cubicBezTo>
                      <a:pt x="451" y="216"/>
                      <a:pt x="383" y="153"/>
                      <a:pt x="292" y="153"/>
                    </a:cubicBezTo>
                    <a:cubicBezTo>
                      <a:pt x="203" y="153"/>
                      <a:pt x="133" y="220"/>
                      <a:pt x="133" y="3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Tree>
    <p:extLst>
      <p:ext uri="{BB962C8B-B14F-4D97-AF65-F5344CB8AC3E}">
        <p14:creationId xmlns:p14="http://schemas.microsoft.com/office/powerpoint/2010/main" val="1834005338"/>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Slide_Blac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7F7FEAA-CD25-31FD-0E8A-E47145F5F9EB}"/>
              </a:ext>
            </a:extLst>
          </p:cNvPr>
          <p:cNvGrpSpPr/>
          <p:nvPr userDrawn="1"/>
        </p:nvGrpSpPr>
        <p:grpSpPr>
          <a:xfrm>
            <a:off x="9392771" y="767096"/>
            <a:ext cx="2800816" cy="1898696"/>
            <a:chOff x="9390324" y="767096"/>
            <a:chExt cx="2800087" cy="1898696"/>
          </a:xfrm>
        </p:grpSpPr>
        <p:grpSp>
          <p:nvGrpSpPr>
            <p:cNvPr id="63" name="Group 62">
              <a:extLst>
                <a:ext uri="{FF2B5EF4-FFF2-40B4-BE49-F238E27FC236}">
                  <a16:creationId xmlns:a16="http://schemas.microsoft.com/office/drawing/2014/main" id="{DBC4C027-8FC0-71EF-963F-3B8A0447C1E8}"/>
                </a:ext>
              </a:extLst>
            </p:cNvPr>
            <p:cNvGrpSpPr/>
            <p:nvPr userDrawn="1"/>
          </p:nvGrpSpPr>
          <p:grpSpPr>
            <a:xfrm>
              <a:off x="9390324" y="936748"/>
              <a:ext cx="1965963" cy="1042086"/>
              <a:chOff x="4988072" y="501936"/>
              <a:chExt cx="1978802" cy="1051017"/>
            </a:xfrm>
            <a:solidFill>
              <a:schemeClr val="bg1"/>
            </a:solidFill>
          </p:grpSpPr>
          <p:sp>
            <p:nvSpPr>
              <p:cNvPr id="72" name="Freeform 5">
                <a:extLst>
                  <a:ext uri="{FF2B5EF4-FFF2-40B4-BE49-F238E27FC236}">
                    <a16:creationId xmlns:a16="http://schemas.microsoft.com/office/drawing/2014/main" id="{AC114BA7-B808-0C61-F4C4-498846EB2C1F}"/>
                  </a:ext>
                </a:extLst>
              </p:cNvPr>
              <p:cNvSpPr>
                <a:spLocks/>
              </p:cNvSpPr>
              <p:nvPr userDrawn="1"/>
            </p:nvSpPr>
            <p:spPr bwMode="auto">
              <a:xfrm>
                <a:off x="5559016" y="501936"/>
                <a:ext cx="218094" cy="282813"/>
              </a:xfrm>
              <a:custGeom>
                <a:avLst/>
                <a:gdLst>
                  <a:gd name="T0" fmla="*/ 0 w 502"/>
                  <a:gd name="T1" fmla="*/ 550 h 651"/>
                  <a:gd name="T2" fmla="*/ 83 w 502"/>
                  <a:gd name="T3" fmla="*/ 451 h 651"/>
                  <a:gd name="T4" fmla="*/ 272 w 502"/>
                  <a:gd name="T5" fmla="*/ 528 h 651"/>
                  <a:gd name="T6" fmla="*/ 363 w 502"/>
                  <a:gd name="T7" fmla="*/ 469 h 651"/>
                  <a:gd name="T8" fmla="*/ 363 w 502"/>
                  <a:gd name="T9" fmla="*/ 467 h 651"/>
                  <a:gd name="T10" fmla="*/ 236 w 502"/>
                  <a:gd name="T11" fmla="*/ 386 h 651"/>
                  <a:gd name="T12" fmla="*/ 26 w 502"/>
                  <a:gd name="T13" fmla="*/ 192 h 651"/>
                  <a:gd name="T14" fmla="*/ 26 w 502"/>
                  <a:gd name="T15" fmla="*/ 191 h 651"/>
                  <a:gd name="T16" fmla="*/ 247 w 502"/>
                  <a:gd name="T17" fmla="*/ 0 h 651"/>
                  <a:gd name="T18" fmla="*/ 483 w 502"/>
                  <a:gd name="T19" fmla="*/ 80 h 651"/>
                  <a:gd name="T20" fmla="*/ 410 w 502"/>
                  <a:gd name="T21" fmla="*/ 185 h 651"/>
                  <a:gd name="T22" fmla="*/ 246 w 502"/>
                  <a:gd name="T23" fmla="*/ 123 h 651"/>
                  <a:gd name="T24" fmla="*/ 164 w 502"/>
                  <a:gd name="T25" fmla="*/ 178 h 651"/>
                  <a:gd name="T26" fmla="*/ 164 w 502"/>
                  <a:gd name="T27" fmla="*/ 180 h 651"/>
                  <a:gd name="T28" fmla="*/ 301 w 502"/>
                  <a:gd name="T29" fmla="*/ 263 h 651"/>
                  <a:gd name="T30" fmla="*/ 502 w 502"/>
                  <a:gd name="T31" fmla="*/ 453 h 651"/>
                  <a:gd name="T32" fmla="*/ 502 w 502"/>
                  <a:gd name="T33" fmla="*/ 455 h 651"/>
                  <a:gd name="T34" fmla="*/ 269 w 502"/>
                  <a:gd name="T35" fmla="*/ 651 h 651"/>
                  <a:gd name="T36" fmla="*/ 0 w 502"/>
                  <a:gd name="T37" fmla="*/ 5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651">
                    <a:moveTo>
                      <a:pt x="0" y="550"/>
                    </a:moveTo>
                    <a:cubicBezTo>
                      <a:pt x="83" y="451"/>
                      <a:pt x="83" y="451"/>
                      <a:pt x="83" y="451"/>
                    </a:cubicBezTo>
                    <a:cubicBezTo>
                      <a:pt x="140" y="498"/>
                      <a:pt x="200" y="528"/>
                      <a:pt x="272" y="528"/>
                    </a:cubicBezTo>
                    <a:cubicBezTo>
                      <a:pt x="329" y="528"/>
                      <a:pt x="363" y="506"/>
                      <a:pt x="363" y="469"/>
                    </a:cubicBezTo>
                    <a:cubicBezTo>
                      <a:pt x="363" y="467"/>
                      <a:pt x="363" y="467"/>
                      <a:pt x="363" y="467"/>
                    </a:cubicBezTo>
                    <a:cubicBezTo>
                      <a:pt x="363" y="431"/>
                      <a:pt x="342" y="413"/>
                      <a:pt x="236" y="386"/>
                    </a:cubicBezTo>
                    <a:cubicBezTo>
                      <a:pt x="108" y="354"/>
                      <a:pt x="26" y="318"/>
                      <a:pt x="26" y="192"/>
                    </a:cubicBezTo>
                    <a:cubicBezTo>
                      <a:pt x="26" y="191"/>
                      <a:pt x="26" y="191"/>
                      <a:pt x="26" y="191"/>
                    </a:cubicBezTo>
                    <a:cubicBezTo>
                      <a:pt x="26" y="76"/>
                      <a:pt x="118" y="0"/>
                      <a:pt x="247" y="0"/>
                    </a:cubicBezTo>
                    <a:cubicBezTo>
                      <a:pt x="340" y="0"/>
                      <a:pt x="419" y="29"/>
                      <a:pt x="483" y="80"/>
                    </a:cubicBezTo>
                    <a:cubicBezTo>
                      <a:pt x="410" y="185"/>
                      <a:pt x="410" y="185"/>
                      <a:pt x="410" y="185"/>
                    </a:cubicBezTo>
                    <a:cubicBezTo>
                      <a:pt x="354" y="146"/>
                      <a:pt x="299" y="123"/>
                      <a:pt x="246" y="123"/>
                    </a:cubicBezTo>
                    <a:cubicBezTo>
                      <a:pt x="192" y="123"/>
                      <a:pt x="164" y="147"/>
                      <a:pt x="164" y="178"/>
                    </a:cubicBezTo>
                    <a:cubicBezTo>
                      <a:pt x="164" y="180"/>
                      <a:pt x="164" y="180"/>
                      <a:pt x="164" y="180"/>
                    </a:cubicBezTo>
                    <a:cubicBezTo>
                      <a:pt x="164" y="221"/>
                      <a:pt x="191" y="235"/>
                      <a:pt x="301" y="263"/>
                    </a:cubicBezTo>
                    <a:cubicBezTo>
                      <a:pt x="429" y="297"/>
                      <a:pt x="502" y="343"/>
                      <a:pt x="502" y="453"/>
                    </a:cubicBezTo>
                    <a:cubicBezTo>
                      <a:pt x="502" y="455"/>
                      <a:pt x="502" y="455"/>
                      <a:pt x="502" y="455"/>
                    </a:cubicBezTo>
                    <a:cubicBezTo>
                      <a:pt x="502" y="581"/>
                      <a:pt x="406" y="651"/>
                      <a:pt x="269" y="651"/>
                    </a:cubicBezTo>
                    <a:cubicBezTo>
                      <a:pt x="173" y="651"/>
                      <a:pt x="76" y="618"/>
                      <a:pt x="0"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6">
                <a:extLst>
                  <a:ext uri="{FF2B5EF4-FFF2-40B4-BE49-F238E27FC236}">
                    <a16:creationId xmlns:a16="http://schemas.microsoft.com/office/drawing/2014/main" id="{03055FF5-EB33-F09D-784D-C7AD01880326}"/>
                  </a:ext>
                </a:extLst>
              </p:cNvPr>
              <p:cNvSpPr>
                <a:spLocks/>
              </p:cNvSpPr>
              <p:nvPr userDrawn="1"/>
            </p:nvSpPr>
            <p:spPr bwMode="auto">
              <a:xfrm>
                <a:off x="5791295" y="566212"/>
                <a:ext cx="322264" cy="214547"/>
              </a:xfrm>
              <a:custGeom>
                <a:avLst/>
                <a:gdLst>
                  <a:gd name="T0" fmla="*/ 0 w 741"/>
                  <a:gd name="T1" fmla="*/ 9 h 494"/>
                  <a:gd name="T2" fmla="*/ 138 w 741"/>
                  <a:gd name="T3" fmla="*/ 9 h 494"/>
                  <a:gd name="T4" fmla="*/ 138 w 741"/>
                  <a:gd name="T5" fmla="*/ 78 h 494"/>
                  <a:gd name="T6" fmla="*/ 281 w 741"/>
                  <a:gd name="T7" fmla="*/ 0 h 494"/>
                  <a:gd name="T8" fmla="*/ 418 w 741"/>
                  <a:gd name="T9" fmla="*/ 77 h 494"/>
                  <a:gd name="T10" fmla="*/ 577 w 741"/>
                  <a:gd name="T11" fmla="*/ 0 h 494"/>
                  <a:gd name="T12" fmla="*/ 741 w 741"/>
                  <a:gd name="T13" fmla="*/ 178 h 494"/>
                  <a:gd name="T14" fmla="*/ 741 w 741"/>
                  <a:gd name="T15" fmla="*/ 494 h 494"/>
                  <a:gd name="T16" fmla="*/ 603 w 741"/>
                  <a:gd name="T17" fmla="*/ 494 h 494"/>
                  <a:gd name="T18" fmla="*/ 603 w 741"/>
                  <a:gd name="T19" fmla="*/ 224 h 494"/>
                  <a:gd name="T20" fmla="*/ 523 w 741"/>
                  <a:gd name="T21" fmla="*/ 125 h 494"/>
                  <a:gd name="T22" fmla="*/ 439 w 741"/>
                  <a:gd name="T23" fmla="*/ 224 h 494"/>
                  <a:gd name="T24" fmla="*/ 439 w 741"/>
                  <a:gd name="T25" fmla="*/ 494 h 494"/>
                  <a:gd name="T26" fmla="*/ 302 w 741"/>
                  <a:gd name="T27" fmla="*/ 494 h 494"/>
                  <a:gd name="T28" fmla="*/ 302 w 741"/>
                  <a:gd name="T29" fmla="*/ 224 h 494"/>
                  <a:gd name="T30" fmla="*/ 221 w 741"/>
                  <a:gd name="T31" fmla="*/ 125 h 494"/>
                  <a:gd name="T32" fmla="*/ 138 w 741"/>
                  <a:gd name="T33" fmla="*/ 224 h 494"/>
                  <a:gd name="T34" fmla="*/ 138 w 741"/>
                  <a:gd name="T35" fmla="*/ 494 h 494"/>
                  <a:gd name="T36" fmla="*/ 0 w 741"/>
                  <a:gd name="T37" fmla="*/ 494 h 494"/>
                  <a:gd name="T38" fmla="*/ 0 w 741"/>
                  <a:gd name="T39"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1" h="494">
                    <a:moveTo>
                      <a:pt x="0" y="9"/>
                    </a:moveTo>
                    <a:cubicBezTo>
                      <a:pt x="138" y="9"/>
                      <a:pt x="138" y="9"/>
                      <a:pt x="138" y="9"/>
                    </a:cubicBezTo>
                    <a:cubicBezTo>
                      <a:pt x="138" y="78"/>
                      <a:pt x="138" y="78"/>
                      <a:pt x="138" y="78"/>
                    </a:cubicBezTo>
                    <a:cubicBezTo>
                      <a:pt x="170" y="37"/>
                      <a:pt x="211" y="0"/>
                      <a:pt x="281" y="0"/>
                    </a:cubicBezTo>
                    <a:cubicBezTo>
                      <a:pt x="344" y="0"/>
                      <a:pt x="392" y="28"/>
                      <a:pt x="418" y="77"/>
                    </a:cubicBezTo>
                    <a:cubicBezTo>
                      <a:pt x="460" y="27"/>
                      <a:pt x="511" y="0"/>
                      <a:pt x="577" y="0"/>
                    </a:cubicBezTo>
                    <a:cubicBezTo>
                      <a:pt x="679" y="0"/>
                      <a:pt x="741" y="62"/>
                      <a:pt x="741" y="178"/>
                    </a:cubicBezTo>
                    <a:cubicBezTo>
                      <a:pt x="741" y="494"/>
                      <a:pt x="741" y="494"/>
                      <a:pt x="741" y="494"/>
                    </a:cubicBezTo>
                    <a:cubicBezTo>
                      <a:pt x="603" y="494"/>
                      <a:pt x="603" y="494"/>
                      <a:pt x="603" y="494"/>
                    </a:cubicBezTo>
                    <a:cubicBezTo>
                      <a:pt x="603" y="224"/>
                      <a:pt x="603" y="224"/>
                      <a:pt x="603" y="224"/>
                    </a:cubicBezTo>
                    <a:cubicBezTo>
                      <a:pt x="603" y="159"/>
                      <a:pt x="574" y="125"/>
                      <a:pt x="523" y="125"/>
                    </a:cubicBezTo>
                    <a:cubicBezTo>
                      <a:pt x="471" y="125"/>
                      <a:pt x="439" y="159"/>
                      <a:pt x="439" y="224"/>
                    </a:cubicBezTo>
                    <a:cubicBezTo>
                      <a:pt x="439" y="494"/>
                      <a:pt x="439" y="494"/>
                      <a:pt x="439" y="494"/>
                    </a:cubicBezTo>
                    <a:cubicBezTo>
                      <a:pt x="302" y="494"/>
                      <a:pt x="302" y="494"/>
                      <a:pt x="302" y="494"/>
                    </a:cubicBezTo>
                    <a:cubicBezTo>
                      <a:pt x="302" y="224"/>
                      <a:pt x="302" y="224"/>
                      <a:pt x="302" y="224"/>
                    </a:cubicBezTo>
                    <a:cubicBezTo>
                      <a:pt x="302" y="159"/>
                      <a:pt x="273" y="125"/>
                      <a:pt x="221" y="125"/>
                    </a:cubicBezTo>
                    <a:cubicBezTo>
                      <a:pt x="170" y="125"/>
                      <a:pt x="138" y="159"/>
                      <a:pt x="138" y="224"/>
                    </a:cubicBezTo>
                    <a:cubicBezTo>
                      <a:pt x="138" y="494"/>
                      <a:pt x="138" y="494"/>
                      <a:pt x="138"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7">
                <a:extLst>
                  <a:ext uri="{FF2B5EF4-FFF2-40B4-BE49-F238E27FC236}">
                    <a16:creationId xmlns:a16="http://schemas.microsoft.com/office/drawing/2014/main" id="{EF0C28DE-3EA0-613C-F6F5-A668E5A933D2}"/>
                  </a:ext>
                </a:extLst>
              </p:cNvPr>
              <p:cNvSpPr>
                <a:spLocks noEditPoints="1"/>
              </p:cNvSpPr>
              <p:nvPr userDrawn="1"/>
            </p:nvSpPr>
            <p:spPr bwMode="auto">
              <a:xfrm>
                <a:off x="6125971" y="567985"/>
                <a:ext cx="193713" cy="216764"/>
              </a:xfrm>
              <a:custGeom>
                <a:avLst/>
                <a:gdLst>
                  <a:gd name="T0" fmla="*/ 0 w 446"/>
                  <a:gd name="T1" fmla="*/ 351 h 499"/>
                  <a:gd name="T2" fmla="*/ 0 w 446"/>
                  <a:gd name="T3" fmla="*/ 349 h 499"/>
                  <a:gd name="T4" fmla="*/ 195 w 446"/>
                  <a:gd name="T5" fmla="*/ 194 h 499"/>
                  <a:gd name="T6" fmla="*/ 314 w 446"/>
                  <a:gd name="T7" fmla="*/ 214 h 499"/>
                  <a:gd name="T8" fmla="*/ 314 w 446"/>
                  <a:gd name="T9" fmla="*/ 206 h 499"/>
                  <a:gd name="T10" fmla="*/ 210 w 446"/>
                  <a:gd name="T11" fmla="*/ 117 h 499"/>
                  <a:gd name="T12" fmla="*/ 76 w 446"/>
                  <a:gd name="T13" fmla="*/ 144 h 499"/>
                  <a:gd name="T14" fmla="*/ 42 w 446"/>
                  <a:gd name="T15" fmla="*/ 39 h 499"/>
                  <a:gd name="T16" fmla="*/ 230 w 446"/>
                  <a:gd name="T17" fmla="*/ 0 h 499"/>
                  <a:gd name="T18" fmla="*/ 394 w 446"/>
                  <a:gd name="T19" fmla="*/ 54 h 499"/>
                  <a:gd name="T20" fmla="*/ 446 w 446"/>
                  <a:gd name="T21" fmla="*/ 209 h 499"/>
                  <a:gd name="T22" fmla="*/ 446 w 446"/>
                  <a:gd name="T23" fmla="*/ 490 h 499"/>
                  <a:gd name="T24" fmla="*/ 313 w 446"/>
                  <a:gd name="T25" fmla="*/ 490 h 499"/>
                  <a:gd name="T26" fmla="*/ 313 w 446"/>
                  <a:gd name="T27" fmla="*/ 438 h 499"/>
                  <a:gd name="T28" fmla="*/ 166 w 446"/>
                  <a:gd name="T29" fmla="*/ 499 h 499"/>
                  <a:gd name="T30" fmla="*/ 0 w 446"/>
                  <a:gd name="T31" fmla="*/ 351 h 499"/>
                  <a:gd name="T32" fmla="*/ 316 w 446"/>
                  <a:gd name="T33" fmla="*/ 319 h 499"/>
                  <a:gd name="T34" fmla="*/ 316 w 446"/>
                  <a:gd name="T35" fmla="*/ 295 h 499"/>
                  <a:gd name="T36" fmla="*/ 228 w 446"/>
                  <a:gd name="T37" fmla="*/ 277 h 499"/>
                  <a:gd name="T38" fmla="*/ 133 w 446"/>
                  <a:gd name="T39" fmla="*/ 344 h 499"/>
                  <a:gd name="T40" fmla="*/ 133 w 446"/>
                  <a:gd name="T41" fmla="*/ 346 h 499"/>
                  <a:gd name="T42" fmla="*/ 208 w 446"/>
                  <a:gd name="T43" fmla="*/ 404 h 499"/>
                  <a:gd name="T44" fmla="*/ 316 w 446"/>
                  <a:gd name="T45" fmla="*/ 31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499">
                    <a:moveTo>
                      <a:pt x="0" y="351"/>
                    </a:moveTo>
                    <a:cubicBezTo>
                      <a:pt x="0" y="349"/>
                      <a:pt x="0" y="349"/>
                      <a:pt x="0" y="349"/>
                    </a:cubicBezTo>
                    <a:cubicBezTo>
                      <a:pt x="0" y="243"/>
                      <a:pt x="80" y="194"/>
                      <a:pt x="195" y="194"/>
                    </a:cubicBezTo>
                    <a:cubicBezTo>
                      <a:pt x="244" y="194"/>
                      <a:pt x="280" y="202"/>
                      <a:pt x="314" y="214"/>
                    </a:cubicBezTo>
                    <a:cubicBezTo>
                      <a:pt x="314" y="206"/>
                      <a:pt x="314" y="206"/>
                      <a:pt x="314" y="206"/>
                    </a:cubicBezTo>
                    <a:cubicBezTo>
                      <a:pt x="314" y="149"/>
                      <a:pt x="279" y="117"/>
                      <a:pt x="210" y="117"/>
                    </a:cubicBezTo>
                    <a:cubicBezTo>
                      <a:pt x="157" y="117"/>
                      <a:pt x="120" y="127"/>
                      <a:pt x="76" y="144"/>
                    </a:cubicBezTo>
                    <a:cubicBezTo>
                      <a:pt x="42" y="39"/>
                      <a:pt x="42" y="39"/>
                      <a:pt x="42" y="39"/>
                    </a:cubicBezTo>
                    <a:cubicBezTo>
                      <a:pt x="95" y="15"/>
                      <a:pt x="147" y="0"/>
                      <a:pt x="230" y="0"/>
                    </a:cubicBezTo>
                    <a:cubicBezTo>
                      <a:pt x="305" y="0"/>
                      <a:pt x="359" y="20"/>
                      <a:pt x="394" y="54"/>
                    </a:cubicBezTo>
                    <a:cubicBezTo>
                      <a:pt x="430" y="90"/>
                      <a:pt x="446" y="144"/>
                      <a:pt x="446" y="209"/>
                    </a:cubicBezTo>
                    <a:cubicBezTo>
                      <a:pt x="446" y="490"/>
                      <a:pt x="446" y="490"/>
                      <a:pt x="446" y="490"/>
                    </a:cubicBezTo>
                    <a:cubicBezTo>
                      <a:pt x="313" y="490"/>
                      <a:pt x="313" y="490"/>
                      <a:pt x="313" y="490"/>
                    </a:cubicBezTo>
                    <a:cubicBezTo>
                      <a:pt x="313" y="438"/>
                      <a:pt x="313" y="438"/>
                      <a:pt x="313" y="438"/>
                    </a:cubicBezTo>
                    <a:cubicBezTo>
                      <a:pt x="280" y="475"/>
                      <a:pt x="233" y="499"/>
                      <a:pt x="166" y="499"/>
                    </a:cubicBezTo>
                    <a:cubicBezTo>
                      <a:pt x="75" y="499"/>
                      <a:pt x="0" y="447"/>
                      <a:pt x="0" y="351"/>
                    </a:cubicBezTo>
                    <a:close/>
                    <a:moveTo>
                      <a:pt x="316" y="319"/>
                    </a:moveTo>
                    <a:cubicBezTo>
                      <a:pt x="316" y="295"/>
                      <a:pt x="316" y="295"/>
                      <a:pt x="316" y="295"/>
                    </a:cubicBezTo>
                    <a:cubicBezTo>
                      <a:pt x="292" y="284"/>
                      <a:pt x="262" y="277"/>
                      <a:pt x="228" y="277"/>
                    </a:cubicBezTo>
                    <a:cubicBezTo>
                      <a:pt x="169" y="277"/>
                      <a:pt x="133" y="300"/>
                      <a:pt x="133" y="344"/>
                    </a:cubicBezTo>
                    <a:cubicBezTo>
                      <a:pt x="133" y="346"/>
                      <a:pt x="133" y="346"/>
                      <a:pt x="133" y="346"/>
                    </a:cubicBezTo>
                    <a:cubicBezTo>
                      <a:pt x="133" y="383"/>
                      <a:pt x="164" y="404"/>
                      <a:pt x="208" y="404"/>
                    </a:cubicBezTo>
                    <a:cubicBezTo>
                      <a:pt x="272" y="404"/>
                      <a:pt x="316" y="369"/>
                      <a:pt x="31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8">
                <a:extLst>
                  <a:ext uri="{FF2B5EF4-FFF2-40B4-BE49-F238E27FC236}">
                    <a16:creationId xmlns:a16="http://schemas.microsoft.com/office/drawing/2014/main" id="{AA3A9144-5E21-1340-D82E-781E8E03088B}"/>
                  </a:ext>
                </a:extLst>
              </p:cNvPr>
              <p:cNvSpPr>
                <a:spLocks/>
              </p:cNvSpPr>
              <p:nvPr userDrawn="1"/>
            </p:nvSpPr>
            <p:spPr bwMode="auto">
              <a:xfrm>
                <a:off x="6336529" y="564438"/>
                <a:ext cx="127665"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Freeform 9">
                <a:extLst>
                  <a:ext uri="{FF2B5EF4-FFF2-40B4-BE49-F238E27FC236}">
                    <a16:creationId xmlns:a16="http://schemas.microsoft.com/office/drawing/2014/main" id="{16E502AF-0487-43AF-00DB-14F962B92CFF}"/>
                  </a:ext>
                </a:extLst>
              </p:cNvPr>
              <p:cNvSpPr>
                <a:spLocks/>
              </p:cNvSpPr>
              <p:nvPr userDrawn="1"/>
            </p:nvSpPr>
            <p:spPr bwMode="auto">
              <a:xfrm>
                <a:off x="6475719" y="516121"/>
                <a:ext cx="134757" cy="268184"/>
              </a:xfrm>
              <a:custGeom>
                <a:avLst/>
                <a:gdLst>
                  <a:gd name="T0" fmla="*/ 58 w 310"/>
                  <a:gd name="T1" fmla="*/ 472 h 617"/>
                  <a:gd name="T2" fmla="*/ 58 w 310"/>
                  <a:gd name="T3" fmla="*/ 242 h 617"/>
                  <a:gd name="T4" fmla="*/ 0 w 310"/>
                  <a:gd name="T5" fmla="*/ 242 h 617"/>
                  <a:gd name="T6" fmla="*/ 0 w 310"/>
                  <a:gd name="T7" fmla="*/ 124 h 617"/>
                  <a:gd name="T8" fmla="*/ 58 w 310"/>
                  <a:gd name="T9" fmla="*/ 124 h 617"/>
                  <a:gd name="T10" fmla="*/ 58 w 310"/>
                  <a:gd name="T11" fmla="*/ 0 h 617"/>
                  <a:gd name="T12" fmla="*/ 196 w 310"/>
                  <a:gd name="T13" fmla="*/ 0 h 617"/>
                  <a:gd name="T14" fmla="*/ 196 w 310"/>
                  <a:gd name="T15" fmla="*/ 124 h 617"/>
                  <a:gd name="T16" fmla="*/ 310 w 310"/>
                  <a:gd name="T17" fmla="*/ 124 h 617"/>
                  <a:gd name="T18" fmla="*/ 310 w 310"/>
                  <a:gd name="T19" fmla="*/ 242 h 617"/>
                  <a:gd name="T20" fmla="*/ 196 w 310"/>
                  <a:gd name="T21" fmla="*/ 242 h 617"/>
                  <a:gd name="T22" fmla="*/ 196 w 310"/>
                  <a:gd name="T23" fmla="*/ 449 h 617"/>
                  <a:gd name="T24" fmla="*/ 240 w 310"/>
                  <a:gd name="T25" fmla="*/ 496 h 617"/>
                  <a:gd name="T26" fmla="*/ 308 w 310"/>
                  <a:gd name="T27" fmla="*/ 479 h 617"/>
                  <a:gd name="T28" fmla="*/ 308 w 310"/>
                  <a:gd name="T29" fmla="*/ 589 h 617"/>
                  <a:gd name="T30" fmla="*/ 199 w 310"/>
                  <a:gd name="T31" fmla="*/ 617 h 617"/>
                  <a:gd name="T32" fmla="*/ 58 w 310"/>
                  <a:gd name="T33" fmla="*/ 4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7">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6" y="0"/>
                      <a:pt x="196" y="0"/>
                      <a:pt x="196" y="0"/>
                    </a:cubicBezTo>
                    <a:cubicBezTo>
                      <a:pt x="196" y="124"/>
                      <a:pt x="196" y="124"/>
                      <a:pt x="196" y="124"/>
                    </a:cubicBezTo>
                    <a:cubicBezTo>
                      <a:pt x="310" y="124"/>
                      <a:pt x="310" y="124"/>
                      <a:pt x="310" y="124"/>
                    </a:cubicBezTo>
                    <a:cubicBezTo>
                      <a:pt x="310" y="242"/>
                      <a:pt x="310" y="242"/>
                      <a:pt x="310" y="242"/>
                    </a:cubicBezTo>
                    <a:cubicBezTo>
                      <a:pt x="196" y="242"/>
                      <a:pt x="196" y="242"/>
                      <a:pt x="196" y="242"/>
                    </a:cubicBezTo>
                    <a:cubicBezTo>
                      <a:pt x="196" y="449"/>
                      <a:pt x="196" y="449"/>
                      <a:pt x="196" y="449"/>
                    </a:cubicBezTo>
                    <a:cubicBezTo>
                      <a:pt x="196" y="481"/>
                      <a:pt x="209" y="496"/>
                      <a:pt x="240" y="496"/>
                    </a:cubicBezTo>
                    <a:cubicBezTo>
                      <a:pt x="265" y="496"/>
                      <a:pt x="288" y="490"/>
                      <a:pt x="308" y="479"/>
                    </a:cubicBezTo>
                    <a:cubicBezTo>
                      <a:pt x="308" y="589"/>
                      <a:pt x="308" y="589"/>
                      <a:pt x="308" y="589"/>
                    </a:cubicBezTo>
                    <a:cubicBezTo>
                      <a:pt x="279" y="607"/>
                      <a:pt x="245" y="617"/>
                      <a:pt x="199" y="617"/>
                    </a:cubicBezTo>
                    <a:cubicBezTo>
                      <a:pt x="115" y="617"/>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10">
                <a:extLst>
                  <a:ext uri="{FF2B5EF4-FFF2-40B4-BE49-F238E27FC236}">
                    <a16:creationId xmlns:a16="http://schemas.microsoft.com/office/drawing/2014/main" id="{0DE8FD0D-C28A-B61F-DFEE-6F90FAD7BFAA}"/>
                  </a:ext>
                </a:extLst>
              </p:cNvPr>
              <p:cNvSpPr>
                <a:spLocks noEditPoints="1"/>
              </p:cNvSpPr>
              <p:nvPr userDrawn="1"/>
            </p:nvSpPr>
            <p:spPr bwMode="auto">
              <a:xfrm>
                <a:off x="6618455" y="566212"/>
                <a:ext cx="207012" cy="219424"/>
              </a:xfrm>
              <a:custGeom>
                <a:avLst/>
                <a:gdLst>
                  <a:gd name="T0" fmla="*/ 0 w 476"/>
                  <a:gd name="T1" fmla="*/ 254 h 505"/>
                  <a:gd name="T2" fmla="*/ 0 w 476"/>
                  <a:gd name="T3" fmla="*/ 253 h 505"/>
                  <a:gd name="T4" fmla="*/ 240 w 476"/>
                  <a:gd name="T5" fmla="*/ 0 h 505"/>
                  <a:gd name="T6" fmla="*/ 476 w 476"/>
                  <a:gd name="T7" fmla="*/ 263 h 505"/>
                  <a:gd name="T8" fmla="*/ 475 w 476"/>
                  <a:gd name="T9" fmla="*/ 300 h 505"/>
                  <a:gd name="T10" fmla="*/ 137 w 476"/>
                  <a:gd name="T11" fmla="*/ 300 h 505"/>
                  <a:gd name="T12" fmla="*/ 256 w 476"/>
                  <a:gd name="T13" fmla="*/ 395 h 505"/>
                  <a:gd name="T14" fmla="*/ 373 w 476"/>
                  <a:gd name="T15" fmla="*/ 345 h 505"/>
                  <a:gd name="T16" fmla="*/ 452 w 476"/>
                  <a:gd name="T17" fmla="*/ 415 h 505"/>
                  <a:gd name="T18" fmla="*/ 254 w 476"/>
                  <a:gd name="T19" fmla="*/ 505 h 505"/>
                  <a:gd name="T20" fmla="*/ 0 w 476"/>
                  <a:gd name="T21" fmla="*/ 254 h 505"/>
                  <a:gd name="T22" fmla="*/ 342 w 476"/>
                  <a:gd name="T23" fmla="*/ 214 h 505"/>
                  <a:gd name="T24" fmla="*/ 240 w 476"/>
                  <a:gd name="T25" fmla="*/ 111 h 505"/>
                  <a:gd name="T26" fmla="*/ 135 w 476"/>
                  <a:gd name="T27" fmla="*/ 214 h 505"/>
                  <a:gd name="T28" fmla="*/ 342 w 476"/>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05">
                    <a:moveTo>
                      <a:pt x="0" y="254"/>
                    </a:moveTo>
                    <a:cubicBezTo>
                      <a:pt x="0" y="253"/>
                      <a:pt x="0" y="253"/>
                      <a:pt x="0" y="253"/>
                    </a:cubicBezTo>
                    <a:cubicBezTo>
                      <a:pt x="0" y="114"/>
                      <a:pt x="99" y="0"/>
                      <a:pt x="240" y="0"/>
                    </a:cubicBezTo>
                    <a:cubicBezTo>
                      <a:pt x="402" y="0"/>
                      <a:pt x="476" y="126"/>
                      <a:pt x="476" y="263"/>
                    </a:cubicBezTo>
                    <a:cubicBezTo>
                      <a:pt x="476"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2" y="214"/>
                    </a:moveTo>
                    <a:cubicBezTo>
                      <a:pt x="334" y="152"/>
                      <a:pt x="298" y="111"/>
                      <a:pt x="240" y="111"/>
                    </a:cubicBezTo>
                    <a:cubicBezTo>
                      <a:pt x="183" y="111"/>
                      <a:pt x="146" y="151"/>
                      <a:pt x="135" y="214"/>
                    </a:cubicBezTo>
                    <a:lnTo>
                      <a:pt x="342"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11">
                <a:extLst>
                  <a:ext uri="{FF2B5EF4-FFF2-40B4-BE49-F238E27FC236}">
                    <a16:creationId xmlns:a16="http://schemas.microsoft.com/office/drawing/2014/main" id="{F351CFF9-9DD1-E9B5-EE76-334AE5F03491}"/>
                  </a:ext>
                </a:extLst>
              </p:cNvPr>
              <p:cNvSpPr>
                <a:spLocks/>
              </p:cNvSpPr>
              <p:nvPr userDrawn="1"/>
            </p:nvSpPr>
            <p:spPr bwMode="auto">
              <a:xfrm>
                <a:off x="6837879" y="564438"/>
                <a:ext cx="127221"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12">
                <a:extLst>
                  <a:ext uri="{FF2B5EF4-FFF2-40B4-BE49-F238E27FC236}">
                    <a16:creationId xmlns:a16="http://schemas.microsoft.com/office/drawing/2014/main" id="{5CBDFCA1-F27C-774F-EB38-070587A34AB2}"/>
                  </a:ext>
                </a:extLst>
              </p:cNvPr>
              <p:cNvSpPr>
                <a:spLocks/>
              </p:cNvSpPr>
              <p:nvPr userDrawn="1"/>
            </p:nvSpPr>
            <p:spPr bwMode="auto">
              <a:xfrm>
                <a:off x="4988072" y="888476"/>
                <a:ext cx="134757" cy="268628"/>
              </a:xfrm>
              <a:custGeom>
                <a:avLst/>
                <a:gdLst>
                  <a:gd name="T0" fmla="*/ 58 w 310"/>
                  <a:gd name="T1" fmla="*/ 472 h 618"/>
                  <a:gd name="T2" fmla="*/ 58 w 310"/>
                  <a:gd name="T3" fmla="*/ 242 h 618"/>
                  <a:gd name="T4" fmla="*/ 0 w 310"/>
                  <a:gd name="T5" fmla="*/ 242 h 618"/>
                  <a:gd name="T6" fmla="*/ 0 w 310"/>
                  <a:gd name="T7" fmla="*/ 124 h 618"/>
                  <a:gd name="T8" fmla="*/ 58 w 310"/>
                  <a:gd name="T9" fmla="*/ 124 h 618"/>
                  <a:gd name="T10" fmla="*/ 58 w 310"/>
                  <a:gd name="T11" fmla="*/ 0 h 618"/>
                  <a:gd name="T12" fmla="*/ 195 w 310"/>
                  <a:gd name="T13" fmla="*/ 0 h 618"/>
                  <a:gd name="T14" fmla="*/ 195 w 310"/>
                  <a:gd name="T15" fmla="*/ 124 h 618"/>
                  <a:gd name="T16" fmla="*/ 310 w 310"/>
                  <a:gd name="T17" fmla="*/ 124 h 618"/>
                  <a:gd name="T18" fmla="*/ 310 w 310"/>
                  <a:gd name="T19" fmla="*/ 242 h 618"/>
                  <a:gd name="T20" fmla="*/ 195 w 310"/>
                  <a:gd name="T21" fmla="*/ 242 h 618"/>
                  <a:gd name="T22" fmla="*/ 195 w 310"/>
                  <a:gd name="T23" fmla="*/ 449 h 618"/>
                  <a:gd name="T24" fmla="*/ 240 w 310"/>
                  <a:gd name="T25" fmla="*/ 496 h 618"/>
                  <a:gd name="T26" fmla="*/ 308 w 310"/>
                  <a:gd name="T27" fmla="*/ 479 h 618"/>
                  <a:gd name="T28" fmla="*/ 308 w 310"/>
                  <a:gd name="T29" fmla="*/ 590 h 618"/>
                  <a:gd name="T30" fmla="*/ 199 w 310"/>
                  <a:gd name="T31" fmla="*/ 618 h 618"/>
                  <a:gd name="T32" fmla="*/ 58 w 310"/>
                  <a:gd name="T33" fmla="*/ 47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8">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5" y="0"/>
                      <a:pt x="195" y="0"/>
                      <a:pt x="195" y="0"/>
                    </a:cubicBezTo>
                    <a:cubicBezTo>
                      <a:pt x="195" y="124"/>
                      <a:pt x="195" y="124"/>
                      <a:pt x="195" y="124"/>
                    </a:cubicBezTo>
                    <a:cubicBezTo>
                      <a:pt x="310" y="124"/>
                      <a:pt x="310" y="124"/>
                      <a:pt x="310" y="124"/>
                    </a:cubicBezTo>
                    <a:cubicBezTo>
                      <a:pt x="310" y="242"/>
                      <a:pt x="310" y="242"/>
                      <a:pt x="310" y="242"/>
                    </a:cubicBezTo>
                    <a:cubicBezTo>
                      <a:pt x="195" y="242"/>
                      <a:pt x="195" y="242"/>
                      <a:pt x="195" y="242"/>
                    </a:cubicBezTo>
                    <a:cubicBezTo>
                      <a:pt x="195" y="449"/>
                      <a:pt x="195" y="449"/>
                      <a:pt x="195" y="449"/>
                    </a:cubicBezTo>
                    <a:cubicBezTo>
                      <a:pt x="195" y="481"/>
                      <a:pt x="209" y="496"/>
                      <a:pt x="240" y="496"/>
                    </a:cubicBezTo>
                    <a:cubicBezTo>
                      <a:pt x="265" y="496"/>
                      <a:pt x="288" y="490"/>
                      <a:pt x="308" y="479"/>
                    </a:cubicBezTo>
                    <a:cubicBezTo>
                      <a:pt x="308" y="590"/>
                      <a:pt x="308" y="590"/>
                      <a:pt x="308" y="590"/>
                    </a:cubicBezTo>
                    <a:cubicBezTo>
                      <a:pt x="279" y="607"/>
                      <a:pt x="245" y="618"/>
                      <a:pt x="199" y="618"/>
                    </a:cubicBezTo>
                    <a:cubicBezTo>
                      <a:pt x="115" y="618"/>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13">
                <a:extLst>
                  <a:ext uri="{FF2B5EF4-FFF2-40B4-BE49-F238E27FC236}">
                    <a16:creationId xmlns:a16="http://schemas.microsoft.com/office/drawing/2014/main" id="{32C7C41D-9C2F-F9CB-F801-1289ECF5E586}"/>
                  </a:ext>
                </a:extLst>
              </p:cNvPr>
              <p:cNvSpPr>
                <a:spLocks noEditPoints="1"/>
              </p:cNvSpPr>
              <p:nvPr userDrawn="1"/>
            </p:nvSpPr>
            <p:spPr bwMode="auto">
              <a:xfrm>
                <a:off x="5131251" y="938123"/>
                <a:ext cx="207455" cy="219867"/>
              </a:xfrm>
              <a:custGeom>
                <a:avLst/>
                <a:gdLst>
                  <a:gd name="T0" fmla="*/ 0 w 477"/>
                  <a:gd name="T1" fmla="*/ 254 h 505"/>
                  <a:gd name="T2" fmla="*/ 0 w 477"/>
                  <a:gd name="T3" fmla="*/ 253 h 505"/>
                  <a:gd name="T4" fmla="*/ 240 w 477"/>
                  <a:gd name="T5" fmla="*/ 0 h 505"/>
                  <a:gd name="T6" fmla="*/ 477 w 477"/>
                  <a:gd name="T7" fmla="*/ 263 h 505"/>
                  <a:gd name="T8" fmla="*/ 475 w 477"/>
                  <a:gd name="T9" fmla="*/ 300 h 505"/>
                  <a:gd name="T10" fmla="*/ 137 w 477"/>
                  <a:gd name="T11" fmla="*/ 300 h 505"/>
                  <a:gd name="T12" fmla="*/ 256 w 477"/>
                  <a:gd name="T13" fmla="*/ 395 h 505"/>
                  <a:gd name="T14" fmla="*/ 373 w 477"/>
                  <a:gd name="T15" fmla="*/ 345 h 505"/>
                  <a:gd name="T16" fmla="*/ 452 w 477"/>
                  <a:gd name="T17" fmla="*/ 415 h 505"/>
                  <a:gd name="T18" fmla="*/ 254 w 477"/>
                  <a:gd name="T19" fmla="*/ 505 h 505"/>
                  <a:gd name="T20" fmla="*/ 0 w 477"/>
                  <a:gd name="T21" fmla="*/ 254 h 505"/>
                  <a:gd name="T22" fmla="*/ 343 w 477"/>
                  <a:gd name="T23" fmla="*/ 214 h 505"/>
                  <a:gd name="T24" fmla="*/ 240 w 477"/>
                  <a:gd name="T25" fmla="*/ 111 h 505"/>
                  <a:gd name="T26" fmla="*/ 135 w 477"/>
                  <a:gd name="T27" fmla="*/ 214 h 505"/>
                  <a:gd name="T28" fmla="*/ 343 w 477"/>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 h="505">
                    <a:moveTo>
                      <a:pt x="0" y="254"/>
                    </a:moveTo>
                    <a:cubicBezTo>
                      <a:pt x="0" y="253"/>
                      <a:pt x="0" y="253"/>
                      <a:pt x="0" y="253"/>
                    </a:cubicBezTo>
                    <a:cubicBezTo>
                      <a:pt x="0" y="114"/>
                      <a:pt x="99" y="0"/>
                      <a:pt x="240" y="0"/>
                    </a:cubicBezTo>
                    <a:cubicBezTo>
                      <a:pt x="402" y="0"/>
                      <a:pt x="477" y="126"/>
                      <a:pt x="477" y="263"/>
                    </a:cubicBezTo>
                    <a:cubicBezTo>
                      <a:pt x="477"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3" y="214"/>
                    </a:moveTo>
                    <a:cubicBezTo>
                      <a:pt x="334" y="152"/>
                      <a:pt x="298" y="111"/>
                      <a:pt x="240" y="111"/>
                    </a:cubicBezTo>
                    <a:cubicBezTo>
                      <a:pt x="183" y="111"/>
                      <a:pt x="146" y="151"/>
                      <a:pt x="135" y="214"/>
                    </a:cubicBezTo>
                    <a:lnTo>
                      <a:pt x="34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Freeform 14">
                <a:extLst>
                  <a:ext uri="{FF2B5EF4-FFF2-40B4-BE49-F238E27FC236}">
                    <a16:creationId xmlns:a16="http://schemas.microsoft.com/office/drawing/2014/main" id="{D3D8F53A-7C54-73FF-7202-68AF9530CEF8}"/>
                  </a:ext>
                </a:extLst>
              </p:cNvPr>
              <p:cNvSpPr>
                <a:spLocks/>
              </p:cNvSpPr>
              <p:nvPr userDrawn="1"/>
            </p:nvSpPr>
            <p:spPr bwMode="auto">
              <a:xfrm>
                <a:off x="5348015" y="938123"/>
                <a:ext cx="195486" cy="219867"/>
              </a:xfrm>
              <a:custGeom>
                <a:avLst/>
                <a:gdLst>
                  <a:gd name="T0" fmla="*/ 0 w 450"/>
                  <a:gd name="T1" fmla="*/ 254 h 505"/>
                  <a:gd name="T2" fmla="*/ 0 w 450"/>
                  <a:gd name="T3" fmla="*/ 253 h 505"/>
                  <a:gd name="T4" fmla="*/ 254 w 450"/>
                  <a:gd name="T5" fmla="*/ 0 h 505"/>
                  <a:gd name="T6" fmla="*/ 448 w 450"/>
                  <a:gd name="T7" fmla="*/ 82 h 505"/>
                  <a:gd name="T8" fmla="*/ 363 w 450"/>
                  <a:gd name="T9" fmla="*/ 172 h 505"/>
                  <a:gd name="T10" fmla="*/ 253 w 450"/>
                  <a:gd name="T11" fmla="*/ 119 h 505"/>
                  <a:gd name="T12" fmla="*/ 135 w 450"/>
                  <a:gd name="T13" fmla="*/ 251 h 505"/>
                  <a:gd name="T14" fmla="*/ 135 w 450"/>
                  <a:gd name="T15" fmla="*/ 253 h 505"/>
                  <a:gd name="T16" fmla="*/ 258 w 450"/>
                  <a:gd name="T17" fmla="*/ 387 h 505"/>
                  <a:gd name="T18" fmla="*/ 370 w 450"/>
                  <a:gd name="T19" fmla="*/ 335 h 505"/>
                  <a:gd name="T20" fmla="*/ 450 w 450"/>
                  <a:gd name="T21" fmla="*/ 416 h 505"/>
                  <a:gd name="T22" fmla="*/ 252 w 450"/>
                  <a:gd name="T23" fmla="*/ 505 h 505"/>
                  <a:gd name="T24" fmla="*/ 0 w 450"/>
                  <a:gd name="T25"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505">
                    <a:moveTo>
                      <a:pt x="0" y="254"/>
                    </a:moveTo>
                    <a:cubicBezTo>
                      <a:pt x="0" y="253"/>
                      <a:pt x="0" y="253"/>
                      <a:pt x="0" y="253"/>
                    </a:cubicBezTo>
                    <a:cubicBezTo>
                      <a:pt x="0" y="114"/>
                      <a:pt x="106" y="0"/>
                      <a:pt x="254" y="0"/>
                    </a:cubicBezTo>
                    <a:cubicBezTo>
                      <a:pt x="345" y="0"/>
                      <a:pt x="402" y="31"/>
                      <a:pt x="448" y="82"/>
                    </a:cubicBezTo>
                    <a:cubicBezTo>
                      <a:pt x="363" y="172"/>
                      <a:pt x="363" y="172"/>
                      <a:pt x="363" y="172"/>
                    </a:cubicBezTo>
                    <a:cubicBezTo>
                      <a:pt x="333" y="139"/>
                      <a:pt x="302" y="119"/>
                      <a:pt x="253" y="119"/>
                    </a:cubicBezTo>
                    <a:cubicBezTo>
                      <a:pt x="184" y="119"/>
                      <a:pt x="135" y="179"/>
                      <a:pt x="135" y="251"/>
                    </a:cubicBezTo>
                    <a:cubicBezTo>
                      <a:pt x="135" y="253"/>
                      <a:pt x="135" y="253"/>
                      <a:pt x="135" y="253"/>
                    </a:cubicBezTo>
                    <a:cubicBezTo>
                      <a:pt x="135" y="327"/>
                      <a:pt x="183" y="387"/>
                      <a:pt x="258" y="387"/>
                    </a:cubicBezTo>
                    <a:cubicBezTo>
                      <a:pt x="305" y="387"/>
                      <a:pt x="336" y="367"/>
                      <a:pt x="370" y="335"/>
                    </a:cubicBezTo>
                    <a:cubicBezTo>
                      <a:pt x="450" y="416"/>
                      <a:pt x="450" y="416"/>
                      <a:pt x="450" y="416"/>
                    </a:cubicBezTo>
                    <a:cubicBezTo>
                      <a:pt x="403" y="468"/>
                      <a:pt x="349" y="505"/>
                      <a:pt x="252" y="505"/>
                    </a:cubicBezTo>
                    <a:cubicBezTo>
                      <a:pt x="106" y="505"/>
                      <a:pt x="0" y="393"/>
                      <a:pt x="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Freeform 15">
                <a:extLst>
                  <a:ext uri="{FF2B5EF4-FFF2-40B4-BE49-F238E27FC236}">
                    <a16:creationId xmlns:a16="http://schemas.microsoft.com/office/drawing/2014/main" id="{BD2B90D5-630B-CFC6-CE5B-4A3E77847404}"/>
                  </a:ext>
                </a:extLst>
              </p:cNvPr>
              <p:cNvSpPr>
                <a:spLocks/>
              </p:cNvSpPr>
              <p:nvPr userDrawn="1"/>
            </p:nvSpPr>
            <p:spPr bwMode="auto">
              <a:xfrm>
                <a:off x="5553254" y="866312"/>
                <a:ext cx="193270" cy="286802"/>
              </a:xfrm>
              <a:custGeom>
                <a:avLst/>
                <a:gdLst>
                  <a:gd name="T0" fmla="*/ 0 w 445"/>
                  <a:gd name="T1" fmla="*/ 0 h 660"/>
                  <a:gd name="T2" fmla="*/ 138 w 445"/>
                  <a:gd name="T3" fmla="*/ 0 h 660"/>
                  <a:gd name="T4" fmla="*/ 138 w 445"/>
                  <a:gd name="T5" fmla="*/ 244 h 660"/>
                  <a:gd name="T6" fmla="*/ 280 w 445"/>
                  <a:gd name="T7" fmla="*/ 166 h 660"/>
                  <a:gd name="T8" fmla="*/ 445 w 445"/>
                  <a:gd name="T9" fmla="*/ 346 h 660"/>
                  <a:gd name="T10" fmla="*/ 445 w 445"/>
                  <a:gd name="T11" fmla="*/ 660 h 660"/>
                  <a:gd name="T12" fmla="*/ 307 w 445"/>
                  <a:gd name="T13" fmla="*/ 660 h 660"/>
                  <a:gd name="T14" fmla="*/ 307 w 445"/>
                  <a:gd name="T15" fmla="*/ 390 h 660"/>
                  <a:gd name="T16" fmla="*/ 224 w 445"/>
                  <a:gd name="T17" fmla="*/ 291 h 660"/>
                  <a:gd name="T18" fmla="*/ 138 w 445"/>
                  <a:gd name="T19" fmla="*/ 390 h 660"/>
                  <a:gd name="T20" fmla="*/ 138 w 445"/>
                  <a:gd name="T21" fmla="*/ 660 h 660"/>
                  <a:gd name="T22" fmla="*/ 0 w 445"/>
                  <a:gd name="T23" fmla="*/ 660 h 660"/>
                  <a:gd name="T24" fmla="*/ 0 w 445"/>
                  <a:gd name="T2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660">
                    <a:moveTo>
                      <a:pt x="0" y="0"/>
                    </a:moveTo>
                    <a:cubicBezTo>
                      <a:pt x="138" y="0"/>
                      <a:pt x="138" y="0"/>
                      <a:pt x="138" y="0"/>
                    </a:cubicBezTo>
                    <a:cubicBezTo>
                      <a:pt x="138" y="244"/>
                      <a:pt x="138" y="244"/>
                      <a:pt x="138" y="244"/>
                    </a:cubicBezTo>
                    <a:cubicBezTo>
                      <a:pt x="169" y="203"/>
                      <a:pt x="210" y="166"/>
                      <a:pt x="280" y="166"/>
                    </a:cubicBezTo>
                    <a:cubicBezTo>
                      <a:pt x="384" y="166"/>
                      <a:pt x="445" y="235"/>
                      <a:pt x="445" y="346"/>
                    </a:cubicBezTo>
                    <a:cubicBezTo>
                      <a:pt x="445" y="660"/>
                      <a:pt x="445" y="660"/>
                      <a:pt x="445" y="660"/>
                    </a:cubicBezTo>
                    <a:cubicBezTo>
                      <a:pt x="307" y="660"/>
                      <a:pt x="307" y="660"/>
                      <a:pt x="307" y="660"/>
                    </a:cubicBezTo>
                    <a:cubicBezTo>
                      <a:pt x="307" y="390"/>
                      <a:pt x="307" y="390"/>
                      <a:pt x="307" y="390"/>
                    </a:cubicBezTo>
                    <a:cubicBezTo>
                      <a:pt x="307" y="324"/>
                      <a:pt x="276" y="291"/>
                      <a:pt x="224" y="291"/>
                    </a:cubicBezTo>
                    <a:cubicBezTo>
                      <a:pt x="171" y="291"/>
                      <a:pt x="138" y="324"/>
                      <a:pt x="138" y="390"/>
                    </a:cubicBezTo>
                    <a:cubicBezTo>
                      <a:pt x="138" y="660"/>
                      <a:pt x="138" y="660"/>
                      <a:pt x="138" y="660"/>
                    </a:cubicBezTo>
                    <a:cubicBezTo>
                      <a:pt x="0" y="660"/>
                      <a:pt x="0" y="660"/>
                      <a:pt x="0" y="66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16">
                <a:extLst>
                  <a:ext uri="{FF2B5EF4-FFF2-40B4-BE49-F238E27FC236}">
                    <a16:creationId xmlns:a16="http://schemas.microsoft.com/office/drawing/2014/main" id="{44BDC175-2104-E7E3-2519-DA2F92A4A931}"/>
                  </a:ext>
                </a:extLst>
              </p:cNvPr>
              <p:cNvSpPr>
                <a:spLocks/>
              </p:cNvSpPr>
              <p:nvPr userDrawn="1"/>
            </p:nvSpPr>
            <p:spPr bwMode="auto">
              <a:xfrm>
                <a:off x="5762039" y="938123"/>
                <a:ext cx="192827" cy="214991"/>
              </a:xfrm>
              <a:custGeom>
                <a:avLst/>
                <a:gdLst>
                  <a:gd name="T0" fmla="*/ 0 w 444"/>
                  <a:gd name="T1" fmla="*/ 9 h 494"/>
                  <a:gd name="T2" fmla="*/ 137 w 444"/>
                  <a:gd name="T3" fmla="*/ 9 h 494"/>
                  <a:gd name="T4" fmla="*/ 137 w 444"/>
                  <a:gd name="T5" fmla="*/ 78 h 494"/>
                  <a:gd name="T6" fmla="*/ 279 w 444"/>
                  <a:gd name="T7" fmla="*/ 0 h 494"/>
                  <a:gd name="T8" fmla="*/ 444 w 444"/>
                  <a:gd name="T9" fmla="*/ 180 h 494"/>
                  <a:gd name="T10" fmla="*/ 444 w 444"/>
                  <a:gd name="T11" fmla="*/ 494 h 494"/>
                  <a:gd name="T12" fmla="*/ 306 w 444"/>
                  <a:gd name="T13" fmla="*/ 494 h 494"/>
                  <a:gd name="T14" fmla="*/ 306 w 444"/>
                  <a:gd name="T15" fmla="*/ 224 h 494"/>
                  <a:gd name="T16" fmla="*/ 223 w 444"/>
                  <a:gd name="T17" fmla="*/ 125 h 494"/>
                  <a:gd name="T18" fmla="*/ 137 w 444"/>
                  <a:gd name="T19" fmla="*/ 224 h 494"/>
                  <a:gd name="T20" fmla="*/ 137 w 444"/>
                  <a:gd name="T21" fmla="*/ 494 h 494"/>
                  <a:gd name="T22" fmla="*/ 0 w 444"/>
                  <a:gd name="T23" fmla="*/ 494 h 494"/>
                  <a:gd name="T24" fmla="*/ 0 w 444"/>
                  <a:gd name="T25"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94">
                    <a:moveTo>
                      <a:pt x="0" y="9"/>
                    </a:moveTo>
                    <a:cubicBezTo>
                      <a:pt x="137" y="9"/>
                      <a:pt x="137" y="9"/>
                      <a:pt x="137" y="9"/>
                    </a:cubicBezTo>
                    <a:cubicBezTo>
                      <a:pt x="137" y="78"/>
                      <a:pt x="137" y="78"/>
                      <a:pt x="137" y="78"/>
                    </a:cubicBezTo>
                    <a:cubicBezTo>
                      <a:pt x="169" y="37"/>
                      <a:pt x="210" y="0"/>
                      <a:pt x="279" y="0"/>
                    </a:cubicBezTo>
                    <a:cubicBezTo>
                      <a:pt x="383" y="0"/>
                      <a:pt x="444" y="69"/>
                      <a:pt x="444" y="180"/>
                    </a:cubicBezTo>
                    <a:cubicBezTo>
                      <a:pt x="444" y="494"/>
                      <a:pt x="444" y="494"/>
                      <a:pt x="444" y="494"/>
                    </a:cubicBezTo>
                    <a:cubicBezTo>
                      <a:pt x="306" y="494"/>
                      <a:pt x="306" y="494"/>
                      <a:pt x="306" y="494"/>
                    </a:cubicBezTo>
                    <a:cubicBezTo>
                      <a:pt x="306" y="224"/>
                      <a:pt x="306" y="224"/>
                      <a:pt x="306" y="224"/>
                    </a:cubicBezTo>
                    <a:cubicBezTo>
                      <a:pt x="306" y="158"/>
                      <a:pt x="276" y="125"/>
                      <a:pt x="223" y="125"/>
                    </a:cubicBezTo>
                    <a:cubicBezTo>
                      <a:pt x="171" y="125"/>
                      <a:pt x="137" y="158"/>
                      <a:pt x="137" y="224"/>
                    </a:cubicBezTo>
                    <a:cubicBezTo>
                      <a:pt x="137" y="494"/>
                      <a:pt x="137" y="494"/>
                      <a:pt x="137"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17">
                <a:extLst>
                  <a:ext uri="{FF2B5EF4-FFF2-40B4-BE49-F238E27FC236}">
                    <a16:creationId xmlns:a16="http://schemas.microsoft.com/office/drawing/2014/main" id="{E76CB955-2FC2-83C2-AC09-AD01BCCF18B2}"/>
                  </a:ext>
                </a:extLst>
              </p:cNvPr>
              <p:cNvSpPr>
                <a:spLocks noEditPoints="1"/>
              </p:cNvSpPr>
              <p:nvPr userDrawn="1"/>
            </p:nvSpPr>
            <p:spPr bwMode="auto">
              <a:xfrm>
                <a:off x="5967277" y="938123"/>
                <a:ext cx="228289" cy="219867"/>
              </a:xfrm>
              <a:custGeom>
                <a:avLst/>
                <a:gdLst>
                  <a:gd name="T0" fmla="*/ 0 w 525"/>
                  <a:gd name="T1" fmla="*/ 254 h 505"/>
                  <a:gd name="T2" fmla="*/ 0 w 525"/>
                  <a:gd name="T3" fmla="*/ 253 h 505"/>
                  <a:gd name="T4" fmla="*/ 263 w 525"/>
                  <a:gd name="T5" fmla="*/ 0 h 505"/>
                  <a:gd name="T6" fmla="*/ 525 w 525"/>
                  <a:gd name="T7" fmla="*/ 251 h 505"/>
                  <a:gd name="T8" fmla="*/ 525 w 525"/>
                  <a:gd name="T9" fmla="*/ 253 h 505"/>
                  <a:gd name="T10" fmla="*/ 262 w 525"/>
                  <a:gd name="T11" fmla="*/ 505 h 505"/>
                  <a:gd name="T12" fmla="*/ 0 w 525"/>
                  <a:gd name="T13" fmla="*/ 254 h 505"/>
                  <a:gd name="T14" fmla="*/ 389 w 525"/>
                  <a:gd name="T15" fmla="*/ 254 h 505"/>
                  <a:gd name="T16" fmla="*/ 389 w 525"/>
                  <a:gd name="T17" fmla="*/ 253 h 505"/>
                  <a:gd name="T18" fmla="*/ 262 w 525"/>
                  <a:gd name="T19" fmla="*/ 119 h 505"/>
                  <a:gd name="T20" fmla="*/ 136 w 525"/>
                  <a:gd name="T21" fmla="*/ 251 h 505"/>
                  <a:gd name="T22" fmla="*/ 136 w 525"/>
                  <a:gd name="T23" fmla="*/ 253 h 505"/>
                  <a:gd name="T24" fmla="*/ 263 w 525"/>
                  <a:gd name="T25" fmla="*/ 387 h 505"/>
                  <a:gd name="T26" fmla="*/ 389 w 525"/>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5">
                    <a:moveTo>
                      <a:pt x="0" y="254"/>
                    </a:moveTo>
                    <a:cubicBezTo>
                      <a:pt x="0" y="253"/>
                      <a:pt x="0" y="253"/>
                      <a:pt x="0" y="253"/>
                    </a:cubicBezTo>
                    <a:cubicBezTo>
                      <a:pt x="0" y="113"/>
                      <a:pt x="112" y="0"/>
                      <a:pt x="263" y="0"/>
                    </a:cubicBezTo>
                    <a:cubicBezTo>
                      <a:pt x="414" y="0"/>
                      <a:pt x="525" y="111"/>
                      <a:pt x="525" y="251"/>
                    </a:cubicBezTo>
                    <a:cubicBezTo>
                      <a:pt x="525" y="253"/>
                      <a:pt x="525" y="253"/>
                      <a:pt x="525" y="253"/>
                    </a:cubicBezTo>
                    <a:cubicBezTo>
                      <a:pt x="525" y="392"/>
                      <a:pt x="413" y="505"/>
                      <a:pt x="262" y="505"/>
                    </a:cubicBezTo>
                    <a:cubicBezTo>
                      <a:pt x="111" y="505"/>
                      <a:pt x="0" y="394"/>
                      <a:pt x="0" y="254"/>
                    </a:cubicBezTo>
                    <a:close/>
                    <a:moveTo>
                      <a:pt x="389" y="254"/>
                    </a:moveTo>
                    <a:cubicBezTo>
                      <a:pt x="389" y="253"/>
                      <a:pt x="389" y="253"/>
                      <a:pt x="389" y="253"/>
                    </a:cubicBezTo>
                    <a:cubicBezTo>
                      <a:pt x="389" y="181"/>
                      <a:pt x="338" y="119"/>
                      <a:pt x="262" y="119"/>
                    </a:cubicBezTo>
                    <a:cubicBezTo>
                      <a:pt x="183" y="119"/>
                      <a:pt x="136" y="179"/>
                      <a:pt x="136" y="251"/>
                    </a:cubicBezTo>
                    <a:cubicBezTo>
                      <a:pt x="136" y="253"/>
                      <a:pt x="136" y="253"/>
                      <a:pt x="136" y="253"/>
                    </a:cubicBezTo>
                    <a:cubicBezTo>
                      <a:pt x="136" y="324"/>
                      <a:pt x="187" y="387"/>
                      <a:pt x="263" y="387"/>
                    </a:cubicBezTo>
                    <a:cubicBezTo>
                      <a:pt x="342" y="387"/>
                      <a:pt x="389" y="326"/>
                      <a:pt x="389"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Rectangle 18">
                <a:extLst>
                  <a:ext uri="{FF2B5EF4-FFF2-40B4-BE49-F238E27FC236}">
                    <a16:creationId xmlns:a16="http://schemas.microsoft.com/office/drawing/2014/main" id="{BB15E459-A560-CBA7-38D2-49EC0DF1798C}"/>
                  </a:ext>
                </a:extLst>
              </p:cNvPr>
              <p:cNvSpPr>
                <a:spLocks noChangeArrowheads="1"/>
              </p:cNvSpPr>
              <p:nvPr userDrawn="1"/>
            </p:nvSpPr>
            <p:spPr bwMode="auto">
              <a:xfrm>
                <a:off x="6207091" y="866312"/>
                <a:ext cx="59843" cy="2868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19">
                <a:extLst>
                  <a:ext uri="{FF2B5EF4-FFF2-40B4-BE49-F238E27FC236}">
                    <a16:creationId xmlns:a16="http://schemas.microsoft.com/office/drawing/2014/main" id="{A894E637-6612-023A-5D26-292EB224BB2E}"/>
                  </a:ext>
                </a:extLst>
              </p:cNvPr>
              <p:cNvSpPr>
                <a:spLocks noEditPoints="1"/>
              </p:cNvSpPr>
              <p:nvPr userDrawn="1"/>
            </p:nvSpPr>
            <p:spPr bwMode="auto">
              <a:xfrm>
                <a:off x="6278460" y="938123"/>
                <a:ext cx="228732" cy="219867"/>
              </a:xfrm>
              <a:custGeom>
                <a:avLst/>
                <a:gdLst>
                  <a:gd name="T0" fmla="*/ 0 w 526"/>
                  <a:gd name="T1" fmla="*/ 254 h 505"/>
                  <a:gd name="T2" fmla="*/ 0 w 526"/>
                  <a:gd name="T3" fmla="*/ 253 h 505"/>
                  <a:gd name="T4" fmla="*/ 264 w 526"/>
                  <a:gd name="T5" fmla="*/ 0 h 505"/>
                  <a:gd name="T6" fmla="*/ 526 w 526"/>
                  <a:gd name="T7" fmla="*/ 251 h 505"/>
                  <a:gd name="T8" fmla="*/ 526 w 526"/>
                  <a:gd name="T9" fmla="*/ 253 h 505"/>
                  <a:gd name="T10" fmla="*/ 262 w 526"/>
                  <a:gd name="T11" fmla="*/ 505 h 505"/>
                  <a:gd name="T12" fmla="*/ 0 w 526"/>
                  <a:gd name="T13" fmla="*/ 254 h 505"/>
                  <a:gd name="T14" fmla="*/ 390 w 526"/>
                  <a:gd name="T15" fmla="*/ 254 h 505"/>
                  <a:gd name="T16" fmla="*/ 390 w 526"/>
                  <a:gd name="T17" fmla="*/ 253 h 505"/>
                  <a:gd name="T18" fmla="*/ 262 w 526"/>
                  <a:gd name="T19" fmla="*/ 119 h 505"/>
                  <a:gd name="T20" fmla="*/ 136 w 526"/>
                  <a:gd name="T21" fmla="*/ 251 h 505"/>
                  <a:gd name="T22" fmla="*/ 136 w 526"/>
                  <a:gd name="T23" fmla="*/ 253 h 505"/>
                  <a:gd name="T24" fmla="*/ 264 w 526"/>
                  <a:gd name="T25" fmla="*/ 387 h 505"/>
                  <a:gd name="T26" fmla="*/ 390 w 526"/>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05">
                    <a:moveTo>
                      <a:pt x="0" y="254"/>
                    </a:moveTo>
                    <a:cubicBezTo>
                      <a:pt x="0" y="253"/>
                      <a:pt x="0" y="253"/>
                      <a:pt x="0" y="253"/>
                    </a:cubicBezTo>
                    <a:cubicBezTo>
                      <a:pt x="0" y="113"/>
                      <a:pt x="113" y="0"/>
                      <a:pt x="264" y="0"/>
                    </a:cubicBezTo>
                    <a:cubicBezTo>
                      <a:pt x="414" y="0"/>
                      <a:pt x="526" y="111"/>
                      <a:pt x="526" y="251"/>
                    </a:cubicBezTo>
                    <a:cubicBezTo>
                      <a:pt x="526" y="253"/>
                      <a:pt x="526" y="253"/>
                      <a:pt x="526" y="253"/>
                    </a:cubicBezTo>
                    <a:cubicBezTo>
                      <a:pt x="526" y="392"/>
                      <a:pt x="413" y="505"/>
                      <a:pt x="262" y="505"/>
                    </a:cubicBezTo>
                    <a:cubicBezTo>
                      <a:pt x="112" y="505"/>
                      <a:pt x="0" y="394"/>
                      <a:pt x="0" y="254"/>
                    </a:cubicBezTo>
                    <a:close/>
                    <a:moveTo>
                      <a:pt x="390" y="254"/>
                    </a:moveTo>
                    <a:cubicBezTo>
                      <a:pt x="390" y="253"/>
                      <a:pt x="390" y="253"/>
                      <a:pt x="390" y="253"/>
                    </a:cubicBezTo>
                    <a:cubicBezTo>
                      <a:pt x="390" y="181"/>
                      <a:pt x="338" y="119"/>
                      <a:pt x="262" y="119"/>
                    </a:cubicBezTo>
                    <a:cubicBezTo>
                      <a:pt x="183" y="119"/>
                      <a:pt x="136" y="179"/>
                      <a:pt x="136" y="251"/>
                    </a:cubicBezTo>
                    <a:cubicBezTo>
                      <a:pt x="136" y="253"/>
                      <a:pt x="136" y="253"/>
                      <a:pt x="136" y="253"/>
                    </a:cubicBezTo>
                    <a:cubicBezTo>
                      <a:pt x="136" y="324"/>
                      <a:pt x="188" y="387"/>
                      <a:pt x="264" y="387"/>
                    </a:cubicBezTo>
                    <a:cubicBezTo>
                      <a:pt x="343" y="387"/>
                      <a:pt x="390" y="326"/>
                      <a:pt x="39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20">
                <a:extLst>
                  <a:ext uri="{FF2B5EF4-FFF2-40B4-BE49-F238E27FC236}">
                    <a16:creationId xmlns:a16="http://schemas.microsoft.com/office/drawing/2014/main" id="{C612BEEF-FFCF-00C7-83E8-3D6CD89DD8B2}"/>
                  </a:ext>
                </a:extLst>
              </p:cNvPr>
              <p:cNvSpPr>
                <a:spLocks noEditPoints="1"/>
              </p:cNvSpPr>
              <p:nvPr userDrawn="1"/>
            </p:nvSpPr>
            <p:spPr bwMode="auto">
              <a:xfrm>
                <a:off x="6516057" y="938123"/>
                <a:ext cx="221197" cy="278823"/>
              </a:xfrm>
              <a:custGeom>
                <a:avLst/>
                <a:gdLst>
                  <a:gd name="T0" fmla="*/ 24 w 509"/>
                  <a:gd name="T1" fmla="*/ 590 h 641"/>
                  <a:gd name="T2" fmla="*/ 71 w 509"/>
                  <a:gd name="T3" fmla="*/ 487 h 641"/>
                  <a:gd name="T4" fmla="*/ 235 w 509"/>
                  <a:gd name="T5" fmla="*/ 531 h 641"/>
                  <a:gd name="T6" fmla="*/ 373 w 509"/>
                  <a:gd name="T7" fmla="*/ 399 h 641"/>
                  <a:gd name="T8" fmla="*/ 373 w 509"/>
                  <a:gd name="T9" fmla="*/ 376 h 641"/>
                  <a:gd name="T10" fmla="*/ 215 w 509"/>
                  <a:gd name="T11" fmla="*/ 454 h 641"/>
                  <a:gd name="T12" fmla="*/ 0 w 509"/>
                  <a:gd name="T13" fmla="*/ 228 h 641"/>
                  <a:gd name="T14" fmla="*/ 0 w 509"/>
                  <a:gd name="T15" fmla="*/ 226 h 641"/>
                  <a:gd name="T16" fmla="*/ 215 w 509"/>
                  <a:gd name="T17" fmla="*/ 0 h 641"/>
                  <a:gd name="T18" fmla="*/ 372 w 509"/>
                  <a:gd name="T19" fmla="*/ 72 h 641"/>
                  <a:gd name="T20" fmla="*/ 372 w 509"/>
                  <a:gd name="T21" fmla="*/ 9 h 641"/>
                  <a:gd name="T22" fmla="*/ 509 w 509"/>
                  <a:gd name="T23" fmla="*/ 9 h 641"/>
                  <a:gd name="T24" fmla="*/ 509 w 509"/>
                  <a:gd name="T25" fmla="*/ 385 h 641"/>
                  <a:gd name="T26" fmla="*/ 448 w 509"/>
                  <a:gd name="T27" fmla="*/ 576 h 641"/>
                  <a:gd name="T28" fmla="*/ 239 w 509"/>
                  <a:gd name="T29" fmla="*/ 641 h 641"/>
                  <a:gd name="T30" fmla="*/ 24 w 509"/>
                  <a:gd name="T31" fmla="*/ 590 h 641"/>
                  <a:gd name="T32" fmla="*/ 373 w 509"/>
                  <a:gd name="T33" fmla="*/ 228 h 641"/>
                  <a:gd name="T34" fmla="*/ 373 w 509"/>
                  <a:gd name="T35" fmla="*/ 226 h 641"/>
                  <a:gd name="T36" fmla="*/ 255 w 509"/>
                  <a:gd name="T37" fmla="*/ 114 h 641"/>
                  <a:gd name="T38" fmla="*/ 137 w 509"/>
                  <a:gd name="T39" fmla="*/ 226 h 641"/>
                  <a:gd name="T40" fmla="*/ 137 w 509"/>
                  <a:gd name="T41" fmla="*/ 228 h 641"/>
                  <a:gd name="T42" fmla="*/ 255 w 509"/>
                  <a:gd name="T43" fmla="*/ 340 h 641"/>
                  <a:gd name="T44" fmla="*/ 373 w 509"/>
                  <a:gd name="T45" fmla="*/ 2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9" h="641">
                    <a:moveTo>
                      <a:pt x="24" y="590"/>
                    </a:moveTo>
                    <a:cubicBezTo>
                      <a:pt x="71" y="487"/>
                      <a:pt x="71" y="487"/>
                      <a:pt x="71" y="487"/>
                    </a:cubicBezTo>
                    <a:cubicBezTo>
                      <a:pt x="121" y="515"/>
                      <a:pt x="171" y="531"/>
                      <a:pt x="235" y="531"/>
                    </a:cubicBezTo>
                    <a:cubicBezTo>
                      <a:pt x="329" y="531"/>
                      <a:pt x="373" y="486"/>
                      <a:pt x="373" y="399"/>
                    </a:cubicBezTo>
                    <a:cubicBezTo>
                      <a:pt x="373" y="376"/>
                      <a:pt x="373" y="376"/>
                      <a:pt x="373" y="376"/>
                    </a:cubicBezTo>
                    <a:cubicBezTo>
                      <a:pt x="333" y="425"/>
                      <a:pt x="288" y="454"/>
                      <a:pt x="215" y="454"/>
                    </a:cubicBezTo>
                    <a:cubicBezTo>
                      <a:pt x="102" y="454"/>
                      <a:pt x="0" y="372"/>
                      <a:pt x="0" y="228"/>
                    </a:cubicBezTo>
                    <a:cubicBezTo>
                      <a:pt x="0" y="226"/>
                      <a:pt x="0" y="226"/>
                      <a:pt x="0" y="226"/>
                    </a:cubicBezTo>
                    <a:cubicBezTo>
                      <a:pt x="0" y="82"/>
                      <a:pt x="104" y="0"/>
                      <a:pt x="215" y="0"/>
                    </a:cubicBezTo>
                    <a:cubicBezTo>
                      <a:pt x="290" y="0"/>
                      <a:pt x="334" y="32"/>
                      <a:pt x="372" y="72"/>
                    </a:cubicBezTo>
                    <a:cubicBezTo>
                      <a:pt x="372" y="9"/>
                      <a:pt x="372" y="9"/>
                      <a:pt x="372" y="9"/>
                    </a:cubicBezTo>
                    <a:cubicBezTo>
                      <a:pt x="509" y="9"/>
                      <a:pt x="509" y="9"/>
                      <a:pt x="509" y="9"/>
                    </a:cubicBezTo>
                    <a:cubicBezTo>
                      <a:pt x="509" y="385"/>
                      <a:pt x="509" y="385"/>
                      <a:pt x="509" y="385"/>
                    </a:cubicBezTo>
                    <a:cubicBezTo>
                      <a:pt x="509" y="472"/>
                      <a:pt x="488" y="535"/>
                      <a:pt x="448" y="576"/>
                    </a:cubicBezTo>
                    <a:cubicBezTo>
                      <a:pt x="402" y="621"/>
                      <a:pt x="333" y="641"/>
                      <a:pt x="239" y="641"/>
                    </a:cubicBezTo>
                    <a:cubicBezTo>
                      <a:pt x="160" y="641"/>
                      <a:pt x="86" y="623"/>
                      <a:pt x="24" y="590"/>
                    </a:cubicBezTo>
                    <a:close/>
                    <a:moveTo>
                      <a:pt x="373" y="228"/>
                    </a:moveTo>
                    <a:cubicBezTo>
                      <a:pt x="373" y="226"/>
                      <a:pt x="373" y="226"/>
                      <a:pt x="373" y="226"/>
                    </a:cubicBezTo>
                    <a:cubicBezTo>
                      <a:pt x="373" y="160"/>
                      <a:pt x="322" y="114"/>
                      <a:pt x="255" y="114"/>
                    </a:cubicBezTo>
                    <a:cubicBezTo>
                      <a:pt x="188" y="114"/>
                      <a:pt x="137" y="160"/>
                      <a:pt x="137" y="226"/>
                    </a:cubicBezTo>
                    <a:cubicBezTo>
                      <a:pt x="137" y="228"/>
                      <a:pt x="137" y="228"/>
                      <a:pt x="137" y="228"/>
                    </a:cubicBezTo>
                    <a:cubicBezTo>
                      <a:pt x="137" y="295"/>
                      <a:pt x="188" y="340"/>
                      <a:pt x="255" y="340"/>
                    </a:cubicBezTo>
                    <a:cubicBezTo>
                      <a:pt x="322" y="340"/>
                      <a:pt x="373" y="294"/>
                      <a:pt x="373"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21">
                <a:extLst>
                  <a:ext uri="{FF2B5EF4-FFF2-40B4-BE49-F238E27FC236}">
                    <a16:creationId xmlns:a16="http://schemas.microsoft.com/office/drawing/2014/main" id="{535443A8-F420-58B0-6940-C7217CB7D304}"/>
                  </a:ext>
                </a:extLst>
              </p:cNvPr>
              <p:cNvSpPr>
                <a:spLocks/>
              </p:cNvSpPr>
              <p:nvPr userDrawn="1"/>
            </p:nvSpPr>
            <p:spPr bwMode="auto">
              <a:xfrm>
                <a:off x="6747450" y="942113"/>
                <a:ext cx="219424" cy="275277"/>
              </a:xfrm>
              <a:custGeom>
                <a:avLst/>
                <a:gdLst>
                  <a:gd name="T0" fmla="*/ 362 w 505"/>
                  <a:gd name="T1" fmla="*/ 0 h 633"/>
                  <a:gd name="T2" fmla="*/ 505 w 505"/>
                  <a:gd name="T3" fmla="*/ 0 h 633"/>
                  <a:gd name="T4" fmla="*/ 319 w 505"/>
                  <a:gd name="T5" fmla="*/ 497 h 633"/>
                  <a:gd name="T6" fmla="*/ 159 w 505"/>
                  <a:gd name="T7" fmla="*/ 633 h 633"/>
                  <a:gd name="T8" fmla="*/ 37 w 505"/>
                  <a:gd name="T9" fmla="*/ 599 h 633"/>
                  <a:gd name="T10" fmla="*/ 83 w 505"/>
                  <a:gd name="T11" fmla="*/ 500 h 633"/>
                  <a:gd name="T12" fmla="*/ 142 w 505"/>
                  <a:gd name="T13" fmla="*/ 519 h 633"/>
                  <a:gd name="T14" fmla="*/ 190 w 505"/>
                  <a:gd name="T15" fmla="*/ 487 h 633"/>
                  <a:gd name="T16" fmla="*/ 0 w 505"/>
                  <a:gd name="T17" fmla="*/ 0 h 633"/>
                  <a:gd name="T18" fmla="*/ 146 w 505"/>
                  <a:gd name="T19" fmla="*/ 0 h 633"/>
                  <a:gd name="T20" fmla="*/ 256 w 505"/>
                  <a:gd name="T21" fmla="*/ 331 h 633"/>
                  <a:gd name="T22" fmla="*/ 362 w 505"/>
                  <a:gd name="T2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633">
                    <a:moveTo>
                      <a:pt x="362" y="0"/>
                    </a:moveTo>
                    <a:cubicBezTo>
                      <a:pt x="505" y="0"/>
                      <a:pt x="505" y="0"/>
                      <a:pt x="505" y="0"/>
                    </a:cubicBezTo>
                    <a:cubicBezTo>
                      <a:pt x="319" y="497"/>
                      <a:pt x="319" y="497"/>
                      <a:pt x="319" y="497"/>
                    </a:cubicBezTo>
                    <a:cubicBezTo>
                      <a:pt x="282" y="596"/>
                      <a:pt x="242" y="633"/>
                      <a:pt x="159" y="633"/>
                    </a:cubicBezTo>
                    <a:cubicBezTo>
                      <a:pt x="110" y="633"/>
                      <a:pt x="73" y="620"/>
                      <a:pt x="37" y="599"/>
                    </a:cubicBezTo>
                    <a:cubicBezTo>
                      <a:pt x="83" y="500"/>
                      <a:pt x="83" y="500"/>
                      <a:pt x="83" y="500"/>
                    </a:cubicBezTo>
                    <a:cubicBezTo>
                      <a:pt x="101" y="511"/>
                      <a:pt x="124" y="519"/>
                      <a:pt x="142" y="519"/>
                    </a:cubicBezTo>
                    <a:cubicBezTo>
                      <a:pt x="166" y="519"/>
                      <a:pt x="178" y="512"/>
                      <a:pt x="190" y="487"/>
                    </a:cubicBezTo>
                    <a:cubicBezTo>
                      <a:pt x="0" y="0"/>
                      <a:pt x="0" y="0"/>
                      <a:pt x="0" y="0"/>
                    </a:cubicBezTo>
                    <a:cubicBezTo>
                      <a:pt x="146" y="0"/>
                      <a:pt x="146" y="0"/>
                      <a:pt x="146" y="0"/>
                    </a:cubicBezTo>
                    <a:cubicBezTo>
                      <a:pt x="256" y="331"/>
                      <a:pt x="256" y="331"/>
                      <a:pt x="256" y="331"/>
                    </a:cubicBez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22">
                <a:extLst>
                  <a:ext uri="{FF2B5EF4-FFF2-40B4-BE49-F238E27FC236}">
                    <a16:creationId xmlns:a16="http://schemas.microsoft.com/office/drawing/2014/main" id="{D577C4C5-162A-509E-0F90-2D9CF5560B46}"/>
                  </a:ext>
                </a:extLst>
              </p:cNvPr>
              <p:cNvSpPr>
                <a:spLocks/>
              </p:cNvSpPr>
              <p:nvPr userDrawn="1"/>
            </p:nvSpPr>
            <p:spPr bwMode="auto">
              <a:xfrm>
                <a:off x="6005842" y="1258171"/>
                <a:ext cx="132541" cy="290348"/>
              </a:xfrm>
              <a:custGeom>
                <a:avLst/>
                <a:gdLst>
                  <a:gd name="T0" fmla="*/ 57 w 305"/>
                  <a:gd name="T1" fmla="*/ 299 h 667"/>
                  <a:gd name="T2" fmla="*/ 0 w 305"/>
                  <a:gd name="T3" fmla="*/ 299 h 667"/>
                  <a:gd name="T4" fmla="*/ 0 w 305"/>
                  <a:gd name="T5" fmla="*/ 186 h 667"/>
                  <a:gd name="T6" fmla="*/ 57 w 305"/>
                  <a:gd name="T7" fmla="*/ 186 h 667"/>
                  <a:gd name="T8" fmla="*/ 57 w 305"/>
                  <a:gd name="T9" fmla="*/ 155 h 667"/>
                  <a:gd name="T10" fmla="*/ 96 w 305"/>
                  <a:gd name="T11" fmla="*/ 38 h 667"/>
                  <a:gd name="T12" fmla="*/ 208 w 305"/>
                  <a:gd name="T13" fmla="*/ 0 h 667"/>
                  <a:gd name="T14" fmla="*/ 305 w 305"/>
                  <a:gd name="T15" fmla="*/ 13 h 667"/>
                  <a:gd name="T16" fmla="*/ 305 w 305"/>
                  <a:gd name="T17" fmla="*/ 127 h 667"/>
                  <a:gd name="T18" fmla="*/ 243 w 305"/>
                  <a:gd name="T19" fmla="*/ 115 h 667"/>
                  <a:gd name="T20" fmla="*/ 193 w 305"/>
                  <a:gd name="T21" fmla="*/ 168 h 667"/>
                  <a:gd name="T22" fmla="*/ 193 w 305"/>
                  <a:gd name="T23" fmla="*/ 187 h 667"/>
                  <a:gd name="T24" fmla="*/ 305 w 305"/>
                  <a:gd name="T25" fmla="*/ 187 h 667"/>
                  <a:gd name="T26" fmla="*/ 305 w 305"/>
                  <a:gd name="T27" fmla="*/ 299 h 667"/>
                  <a:gd name="T28" fmla="*/ 195 w 305"/>
                  <a:gd name="T29" fmla="*/ 299 h 667"/>
                  <a:gd name="T30" fmla="*/ 195 w 305"/>
                  <a:gd name="T31" fmla="*/ 667 h 667"/>
                  <a:gd name="T32" fmla="*/ 57 w 305"/>
                  <a:gd name="T33" fmla="*/ 667 h 667"/>
                  <a:gd name="T34" fmla="*/ 57 w 305"/>
                  <a:gd name="T35" fmla="*/ 29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667">
                    <a:moveTo>
                      <a:pt x="57" y="299"/>
                    </a:moveTo>
                    <a:cubicBezTo>
                      <a:pt x="0" y="299"/>
                      <a:pt x="0" y="299"/>
                      <a:pt x="0" y="299"/>
                    </a:cubicBezTo>
                    <a:cubicBezTo>
                      <a:pt x="0" y="186"/>
                      <a:pt x="0" y="186"/>
                      <a:pt x="0" y="186"/>
                    </a:cubicBezTo>
                    <a:cubicBezTo>
                      <a:pt x="57" y="186"/>
                      <a:pt x="57" y="186"/>
                      <a:pt x="57" y="186"/>
                    </a:cubicBezTo>
                    <a:cubicBezTo>
                      <a:pt x="57" y="155"/>
                      <a:pt x="57" y="155"/>
                      <a:pt x="57" y="155"/>
                    </a:cubicBezTo>
                    <a:cubicBezTo>
                      <a:pt x="57" y="102"/>
                      <a:pt x="71" y="63"/>
                      <a:pt x="96" y="38"/>
                    </a:cubicBezTo>
                    <a:cubicBezTo>
                      <a:pt x="122" y="12"/>
                      <a:pt x="159" y="0"/>
                      <a:pt x="208" y="0"/>
                    </a:cubicBezTo>
                    <a:cubicBezTo>
                      <a:pt x="251" y="0"/>
                      <a:pt x="280" y="5"/>
                      <a:pt x="305" y="13"/>
                    </a:cubicBezTo>
                    <a:cubicBezTo>
                      <a:pt x="305" y="127"/>
                      <a:pt x="305" y="127"/>
                      <a:pt x="305" y="127"/>
                    </a:cubicBezTo>
                    <a:cubicBezTo>
                      <a:pt x="286" y="120"/>
                      <a:pt x="267" y="115"/>
                      <a:pt x="243" y="115"/>
                    </a:cubicBezTo>
                    <a:cubicBezTo>
                      <a:pt x="211" y="115"/>
                      <a:pt x="193" y="132"/>
                      <a:pt x="193" y="168"/>
                    </a:cubicBezTo>
                    <a:cubicBezTo>
                      <a:pt x="193" y="187"/>
                      <a:pt x="193" y="187"/>
                      <a:pt x="193" y="187"/>
                    </a:cubicBezTo>
                    <a:cubicBezTo>
                      <a:pt x="305" y="187"/>
                      <a:pt x="305" y="187"/>
                      <a:pt x="305" y="187"/>
                    </a:cubicBezTo>
                    <a:cubicBezTo>
                      <a:pt x="305" y="299"/>
                      <a:pt x="305" y="299"/>
                      <a:pt x="305" y="299"/>
                    </a:cubicBezTo>
                    <a:cubicBezTo>
                      <a:pt x="195" y="299"/>
                      <a:pt x="195" y="299"/>
                      <a:pt x="195" y="299"/>
                    </a:cubicBezTo>
                    <a:cubicBezTo>
                      <a:pt x="195" y="667"/>
                      <a:pt x="195" y="667"/>
                      <a:pt x="195" y="667"/>
                    </a:cubicBezTo>
                    <a:cubicBezTo>
                      <a:pt x="57" y="667"/>
                      <a:pt x="57" y="667"/>
                      <a:pt x="57" y="667"/>
                    </a:cubicBezTo>
                    <a:lnTo>
                      <a:pt x="57"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23">
                <a:extLst>
                  <a:ext uri="{FF2B5EF4-FFF2-40B4-BE49-F238E27FC236}">
                    <a16:creationId xmlns:a16="http://schemas.microsoft.com/office/drawing/2014/main" id="{9CB671CE-477D-F1B3-6894-F85448189A99}"/>
                  </a:ext>
                </a:extLst>
              </p:cNvPr>
              <p:cNvSpPr>
                <a:spLocks noEditPoints="1"/>
              </p:cNvSpPr>
              <p:nvPr userDrawn="1"/>
            </p:nvSpPr>
            <p:spPr bwMode="auto">
              <a:xfrm>
                <a:off x="6137497" y="1333086"/>
                <a:ext cx="228289" cy="219867"/>
              </a:xfrm>
              <a:custGeom>
                <a:avLst/>
                <a:gdLst>
                  <a:gd name="T0" fmla="*/ 0 w 525"/>
                  <a:gd name="T1" fmla="*/ 255 h 506"/>
                  <a:gd name="T2" fmla="*/ 0 w 525"/>
                  <a:gd name="T3" fmla="*/ 253 h 506"/>
                  <a:gd name="T4" fmla="*/ 263 w 525"/>
                  <a:gd name="T5" fmla="*/ 0 h 506"/>
                  <a:gd name="T6" fmla="*/ 525 w 525"/>
                  <a:gd name="T7" fmla="*/ 251 h 506"/>
                  <a:gd name="T8" fmla="*/ 525 w 525"/>
                  <a:gd name="T9" fmla="*/ 253 h 506"/>
                  <a:gd name="T10" fmla="*/ 261 w 525"/>
                  <a:gd name="T11" fmla="*/ 506 h 506"/>
                  <a:gd name="T12" fmla="*/ 0 w 525"/>
                  <a:gd name="T13" fmla="*/ 255 h 506"/>
                  <a:gd name="T14" fmla="*/ 389 w 525"/>
                  <a:gd name="T15" fmla="*/ 255 h 506"/>
                  <a:gd name="T16" fmla="*/ 389 w 525"/>
                  <a:gd name="T17" fmla="*/ 253 h 506"/>
                  <a:gd name="T18" fmla="*/ 261 w 525"/>
                  <a:gd name="T19" fmla="*/ 119 h 506"/>
                  <a:gd name="T20" fmla="*/ 135 w 525"/>
                  <a:gd name="T21" fmla="*/ 251 h 506"/>
                  <a:gd name="T22" fmla="*/ 135 w 525"/>
                  <a:gd name="T23" fmla="*/ 253 h 506"/>
                  <a:gd name="T24" fmla="*/ 263 w 525"/>
                  <a:gd name="T25" fmla="*/ 387 h 506"/>
                  <a:gd name="T26" fmla="*/ 389 w 525"/>
                  <a:gd name="T27" fmla="*/ 25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6">
                    <a:moveTo>
                      <a:pt x="0" y="255"/>
                    </a:moveTo>
                    <a:cubicBezTo>
                      <a:pt x="0" y="253"/>
                      <a:pt x="0" y="253"/>
                      <a:pt x="0" y="253"/>
                    </a:cubicBezTo>
                    <a:cubicBezTo>
                      <a:pt x="0" y="114"/>
                      <a:pt x="112" y="0"/>
                      <a:pt x="263" y="0"/>
                    </a:cubicBezTo>
                    <a:cubicBezTo>
                      <a:pt x="413" y="0"/>
                      <a:pt x="525" y="112"/>
                      <a:pt x="525" y="251"/>
                    </a:cubicBezTo>
                    <a:cubicBezTo>
                      <a:pt x="525" y="253"/>
                      <a:pt x="525" y="253"/>
                      <a:pt x="525" y="253"/>
                    </a:cubicBezTo>
                    <a:cubicBezTo>
                      <a:pt x="525" y="392"/>
                      <a:pt x="412" y="506"/>
                      <a:pt x="261" y="506"/>
                    </a:cubicBezTo>
                    <a:cubicBezTo>
                      <a:pt x="111" y="506"/>
                      <a:pt x="0" y="394"/>
                      <a:pt x="0" y="255"/>
                    </a:cubicBezTo>
                    <a:close/>
                    <a:moveTo>
                      <a:pt x="389" y="255"/>
                    </a:moveTo>
                    <a:cubicBezTo>
                      <a:pt x="389" y="253"/>
                      <a:pt x="389" y="253"/>
                      <a:pt x="389" y="253"/>
                    </a:cubicBezTo>
                    <a:cubicBezTo>
                      <a:pt x="389" y="182"/>
                      <a:pt x="337" y="119"/>
                      <a:pt x="261" y="119"/>
                    </a:cubicBezTo>
                    <a:cubicBezTo>
                      <a:pt x="183" y="119"/>
                      <a:pt x="135" y="180"/>
                      <a:pt x="135" y="251"/>
                    </a:cubicBezTo>
                    <a:cubicBezTo>
                      <a:pt x="135" y="253"/>
                      <a:pt x="135" y="253"/>
                      <a:pt x="135" y="253"/>
                    </a:cubicBezTo>
                    <a:cubicBezTo>
                      <a:pt x="135" y="325"/>
                      <a:pt x="187" y="387"/>
                      <a:pt x="263" y="387"/>
                    </a:cubicBezTo>
                    <a:cubicBezTo>
                      <a:pt x="342" y="387"/>
                      <a:pt x="389" y="326"/>
                      <a:pt x="389"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24">
                <a:extLst>
                  <a:ext uri="{FF2B5EF4-FFF2-40B4-BE49-F238E27FC236}">
                    <a16:creationId xmlns:a16="http://schemas.microsoft.com/office/drawing/2014/main" id="{2D545142-881D-002A-830D-2B1960B7F79A}"/>
                  </a:ext>
                </a:extLst>
              </p:cNvPr>
              <p:cNvSpPr>
                <a:spLocks/>
              </p:cNvSpPr>
              <p:nvPr userDrawn="1"/>
            </p:nvSpPr>
            <p:spPr bwMode="auto">
              <a:xfrm>
                <a:off x="6379084" y="1331756"/>
                <a:ext cx="127665" cy="216764"/>
              </a:xfrm>
              <a:custGeom>
                <a:avLst/>
                <a:gdLst>
                  <a:gd name="T0" fmla="*/ 0 w 293"/>
                  <a:gd name="T1" fmla="*/ 13 h 498"/>
                  <a:gd name="T2" fmla="*/ 138 w 293"/>
                  <a:gd name="T3" fmla="*/ 13 h 498"/>
                  <a:gd name="T4" fmla="*/ 138 w 293"/>
                  <a:gd name="T5" fmla="*/ 110 h 498"/>
                  <a:gd name="T6" fmla="*/ 293 w 293"/>
                  <a:gd name="T7" fmla="*/ 3 h 498"/>
                  <a:gd name="T8" fmla="*/ 293 w 293"/>
                  <a:gd name="T9" fmla="*/ 147 h 498"/>
                  <a:gd name="T10" fmla="*/ 286 w 293"/>
                  <a:gd name="T11" fmla="*/ 147 h 498"/>
                  <a:gd name="T12" fmla="*/ 138 w 293"/>
                  <a:gd name="T13" fmla="*/ 318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0"/>
                      <a:pt x="138" y="110"/>
                      <a:pt x="138" y="110"/>
                    </a:cubicBezTo>
                    <a:cubicBezTo>
                      <a:pt x="166" y="43"/>
                      <a:pt x="211" y="0"/>
                      <a:pt x="293" y="3"/>
                    </a:cubicBezTo>
                    <a:cubicBezTo>
                      <a:pt x="293" y="147"/>
                      <a:pt x="293" y="147"/>
                      <a:pt x="293" y="147"/>
                    </a:cubicBezTo>
                    <a:cubicBezTo>
                      <a:pt x="286" y="147"/>
                      <a:pt x="286" y="147"/>
                      <a:pt x="286" y="147"/>
                    </a:cubicBezTo>
                    <a:cubicBezTo>
                      <a:pt x="194" y="147"/>
                      <a:pt x="138" y="203"/>
                      <a:pt x="138" y="318"/>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25">
                <a:extLst>
                  <a:ext uri="{FF2B5EF4-FFF2-40B4-BE49-F238E27FC236}">
                    <a16:creationId xmlns:a16="http://schemas.microsoft.com/office/drawing/2014/main" id="{5C959273-267C-8CBA-996C-EC8514CCD7D2}"/>
                  </a:ext>
                </a:extLst>
              </p:cNvPr>
              <p:cNvSpPr>
                <a:spLocks noEditPoints="1"/>
              </p:cNvSpPr>
              <p:nvPr userDrawn="1"/>
            </p:nvSpPr>
            <p:spPr bwMode="auto">
              <a:xfrm>
                <a:off x="6582993" y="1334859"/>
                <a:ext cx="194157" cy="217207"/>
              </a:xfrm>
              <a:custGeom>
                <a:avLst/>
                <a:gdLst>
                  <a:gd name="T0" fmla="*/ 0 w 446"/>
                  <a:gd name="T1" fmla="*/ 351 h 500"/>
                  <a:gd name="T2" fmla="*/ 0 w 446"/>
                  <a:gd name="T3" fmla="*/ 349 h 500"/>
                  <a:gd name="T4" fmla="*/ 195 w 446"/>
                  <a:gd name="T5" fmla="*/ 195 h 500"/>
                  <a:gd name="T6" fmla="*/ 314 w 446"/>
                  <a:gd name="T7" fmla="*/ 215 h 500"/>
                  <a:gd name="T8" fmla="*/ 314 w 446"/>
                  <a:gd name="T9" fmla="*/ 206 h 500"/>
                  <a:gd name="T10" fmla="*/ 210 w 446"/>
                  <a:gd name="T11" fmla="*/ 118 h 500"/>
                  <a:gd name="T12" fmla="*/ 76 w 446"/>
                  <a:gd name="T13" fmla="*/ 144 h 500"/>
                  <a:gd name="T14" fmla="*/ 42 w 446"/>
                  <a:gd name="T15" fmla="*/ 39 h 500"/>
                  <a:gd name="T16" fmla="*/ 230 w 446"/>
                  <a:gd name="T17" fmla="*/ 0 h 500"/>
                  <a:gd name="T18" fmla="*/ 394 w 446"/>
                  <a:gd name="T19" fmla="*/ 54 h 500"/>
                  <a:gd name="T20" fmla="*/ 446 w 446"/>
                  <a:gd name="T21" fmla="*/ 209 h 500"/>
                  <a:gd name="T22" fmla="*/ 446 w 446"/>
                  <a:gd name="T23" fmla="*/ 491 h 500"/>
                  <a:gd name="T24" fmla="*/ 313 w 446"/>
                  <a:gd name="T25" fmla="*/ 491 h 500"/>
                  <a:gd name="T26" fmla="*/ 313 w 446"/>
                  <a:gd name="T27" fmla="*/ 438 h 500"/>
                  <a:gd name="T28" fmla="*/ 167 w 446"/>
                  <a:gd name="T29" fmla="*/ 500 h 500"/>
                  <a:gd name="T30" fmla="*/ 0 w 446"/>
                  <a:gd name="T31" fmla="*/ 351 h 500"/>
                  <a:gd name="T32" fmla="*/ 316 w 446"/>
                  <a:gd name="T33" fmla="*/ 320 h 500"/>
                  <a:gd name="T34" fmla="*/ 316 w 446"/>
                  <a:gd name="T35" fmla="*/ 295 h 500"/>
                  <a:gd name="T36" fmla="*/ 228 w 446"/>
                  <a:gd name="T37" fmla="*/ 277 h 500"/>
                  <a:gd name="T38" fmla="*/ 133 w 446"/>
                  <a:gd name="T39" fmla="*/ 344 h 500"/>
                  <a:gd name="T40" fmla="*/ 133 w 446"/>
                  <a:gd name="T41" fmla="*/ 346 h 500"/>
                  <a:gd name="T42" fmla="*/ 208 w 446"/>
                  <a:gd name="T43" fmla="*/ 405 h 500"/>
                  <a:gd name="T44" fmla="*/ 316 w 446"/>
                  <a:gd name="T45" fmla="*/ 3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500">
                    <a:moveTo>
                      <a:pt x="0" y="351"/>
                    </a:moveTo>
                    <a:cubicBezTo>
                      <a:pt x="0" y="349"/>
                      <a:pt x="0" y="349"/>
                      <a:pt x="0" y="349"/>
                    </a:cubicBezTo>
                    <a:cubicBezTo>
                      <a:pt x="0" y="244"/>
                      <a:pt x="81" y="195"/>
                      <a:pt x="195" y="195"/>
                    </a:cubicBezTo>
                    <a:cubicBezTo>
                      <a:pt x="244" y="195"/>
                      <a:pt x="280" y="203"/>
                      <a:pt x="314" y="215"/>
                    </a:cubicBezTo>
                    <a:cubicBezTo>
                      <a:pt x="314" y="206"/>
                      <a:pt x="314" y="206"/>
                      <a:pt x="314" y="206"/>
                    </a:cubicBezTo>
                    <a:cubicBezTo>
                      <a:pt x="314" y="149"/>
                      <a:pt x="279" y="118"/>
                      <a:pt x="210" y="118"/>
                    </a:cubicBezTo>
                    <a:cubicBezTo>
                      <a:pt x="157" y="118"/>
                      <a:pt x="120" y="128"/>
                      <a:pt x="76" y="144"/>
                    </a:cubicBezTo>
                    <a:cubicBezTo>
                      <a:pt x="42" y="39"/>
                      <a:pt x="42" y="39"/>
                      <a:pt x="42" y="39"/>
                    </a:cubicBezTo>
                    <a:cubicBezTo>
                      <a:pt x="95" y="15"/>
                      <a:pt x="148" y="0"/>
                      <a:pt x="230" y="0"/>
                    </a:cubicBezTo>
                    <a:cubicBezTo>
                      <a:pt x="305" y="0"/>
                      <a:pt x="359" y="20"/>
                      <a:pt x="394" y="54"/>
                    </a:cubicBezTo>
                    <a:cubicBezTo>
                      <a:pt x="430" y="91"/>
                      <a:pt x="446" y="144"/>
                      <a:pt x="446" y="209"/>
                    </a:cubicBezTo>
                    <a:cubicBezTo>
                      <a:pt x="446" y="491"/>
                      <a:pt x="446" y="491"/>
                      <a:pt x="446" y="491"/>
                    </a:cubicBezTo>
                    <a:cubicBezTo>
                      <a:pt x="313" y="491"/>
                      <a:pt x="313" y="491"/>
                      <a:pt x="313" y="491"/>
                    </a:cubicBezTo>
                    <a:cubicBezTo>
                      <a:pt x="313" y="438"/>
                      <a:pt x="313" y="438"/>
                      <a:pt x="313" y="438"/>
                    </a:cubicBezTo>
                    <a:cubicBezTo>
                      <a:pt x="280" y="475"/>
                      <a:pt x="234" y="500"/>
                      <a:pt x="167" y="500"/>
                    </a:cubicBezTo>
                    <a:cubicBezTo>
                      <a:pt x="75" y="500"/>
                      <a:pt x="0" y="447"/>
                      <a:pt x="0" y="351"/>
                    </a:cubicBezTo>
                    <a:close/>
                    <a:moveTo>
                      <a:pt x="316" y="320"/>
                    </a:moveTo>
                    <a:cubicBezTo>
                      <a:pt x="316" y="295"/>
                      <a:pt x="316" y="295"/>
                      <a:pt x="316" y="295"/>
                    </a:cubicBezTo>
                    <a:cubicBezTo>
                      <a:pt x="292" y="284"/>
                      <a:pt x="262" y="277"/>
                      <a:pt x="228" y="277"/>
                    </a:cubicBezTo>
                    <a:cubicBezTo>
                      <a:pt x="169" y="277"/>
                      <a:pt x="133" y="301"/>
                      <a:pt x="133" y="344"/>
                    </a:cubicBezTo>
                    <a:cubicBezTo>
                      <a:pt x="133" y="346"/>
                      <a:pt x="133" y="346"/>
                      <a:pt x="133" y="346"/>
                    </a:cubicBezTo>
                    <a:cubicBezTo>
                      <a:pt x="133" y="383"/>
                      <a:pt x="164" y="405"/>
                      <a:pt x="208" y="405"/>
                    </a:cubicBezTo>
                    <a:cubicBezTo>
                      <a:pt x="272" y="405"/>
                      <a:pt x="316" y="369"/>
                      <a:pt x="31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26">
                <a:extLst>
                  <a:ext uri="{FF2B5EF4-FFF2-40B4-BE49-F238E27FC236}">
                    <a16:creationId xmlns:a16="http://schemas.microsoft.com/office/drawing/2014/main" id="{2F1B0169-414B-8F53-D204-E4FC9132C39A}"/>
                  </a:ext>
                </a:extLst>
              </p:cNvPr>
              <p:cNvSpPr>
                <a:spLocks noChangeArrowheads="1"/>
              </p:cNvSpPr>
              <p:nvPr userDrawn="1"/>
            </p:nvSpPr>
            <p:spPr bwMode="auto">
              <a:xfrm>
                <a:off x="6801973" y="1260831"/>
                <a:ext cx="59843"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27">
                <a:extLst>
                  <a:ext uri="{FF2B5EF4-FFF2-40B4-BE49-F238E27FC236}">
                    <a16:creationId xmlns:a16="http://schemas.microsoft.com/office/drawing/2014/main" id="{FD3CEF0B-9316-CAAF-B811-7977EA0FDC71}"/>
                  </a:ext>
                </a:extLst>
              </p:cNvPr>
              <p:cNvSpPr>
                <a:spLocks noChangeArrowheads="1"/>
              </p:cNvSpPr>
              <p:nvPr userDrawn="1"/>
            </p:nvSpPr>
            <p:spPr bwMode="auto">
              <a:xfrm>
                <a:off x="6886639" y="1260831"/>
                <a:ext cx="59399"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64" name="Rectangle 28">
              <a:extLst>
                <a:ext uri="{FF2B5EF4-FFF2-40B4-BE49-F238E27FC236}">
                  <a16:creationId xmlns:a16="http://schemas.microsoft.com/office/drawing/2014/main" id="{C44969F7-1BF0-A4FA-F4EB-8003272D98C6}"/>
                </a:ext>
              </a:extLst>
            </p:cNvPr>
            <p:cNvSpPr>
              <a:spLocks noChangeArrowheads="1"/>
            </p:cNvSpPr>
            <p:nvPr userDrawn="1"/>
          </p:nvSpPr>
          <p:spPr bwMode="auto">
            <a:xfrm>
              <a:off x="11556230" y="767096"/>
              <a:ext cx="634181" cy="189869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grpSp>
          <p:nvGrpSpPr>
            <p:cNvPr id="65" name="Group 64">
              <a:extLst>
                <a:ext uri="{FF2B5EF4-FFF2-40B4-BE49-F238E27FC236}">
                  <a16:creationId xmlns:a16="http://schemas.microsoft.com/office/drawing/2014/main" id="{5AB97A83-AA92-5D2A-D89F-2B85130F597F}"/>
                </a:ext>
              </a:extLst>
            </p:cNvPr>
            <p:cNvGrpSpPr/>
            <p:nvPr userDrawn="1"/>
          </p:nvGrpSpPr>
          <p:grpSpPr>
            <a:xfrm>
              <a:off x="11701122" y="936748"/>
              <a:ext cx="321494" cy="1552800"/>
              <a:chOff x="7313961" y="501936"/>
              <a:chExt cx="323594" cy="1566108"/>
            </a:xfrm>
          </p:grpSpPr>
          <p:sp>
            <p:nvSpPr>
              <p:cNvPr id="66" name="Freeform 29">
                <a:extLst>
                  <a:ext uri="{FF2B5EF4-FFF2-40B4-BE49-F238E27FC236}">
                    <a16:creationId xmlns:a16="http://schemas.microsoft.com/office/drawing/2014/main" id="{93913DCE-D7C5-993F-1CBD-D671F4E01A37}"/>
                  </a:ext>
                </a:extLst>
              </p:cNvPr>
              <p:cNvSpPr>
                <a:spLocks/>
              </p:cNvSpPr>
              <p:nvPr userDrawn="1"/>
            </p:nvSpPr>
            <p:spPr bwMode="auto">
              <a:xfrm>
                <a:off x="7383556" y="1311808"/>
                <a:ext cx="249567" cy="247350"/>
              </a:xfrm>
              <a:custGeom>
                <a:avLst/>
                <a:gdLst>
                  <a:gd name="T0" fmla="*/ 0 w 574"/>
                  <a:gd name="T1" fmla="*/ 229 h 569"/>
                  <a:gd name="T2" fmla="*/ 90 w 574"/>
                  <a:gd name="T3" fmla="*/ 413 h 569"/>
                  <a:gd name="T4" fmla="*/ 90 w 574"/>
                  <a:gd name="T5" fmla="*/ 413 h 569"/>
                  <a:gd name="T6" fmla="*/ 90 w 574"/>
                  <a:gd name="T7" fmla="*/ 413 h 569"/>
                  <a:gd name="T8" fmla="*/ 9 w 574"/>
                  <a:gd name="T9" fmla="*/ 413 h 569"/>
                  <a:gd name="T10" fmla="*/ 9 w 574"/>
                  <a:gd name="T11" fmla="*/ 569 h 569"/>
                  <a:gd name="T12" fmla="*/ 574 w 574"/>
                  <a:gd name="T13" fmla="*/ 569 h 569"/>
                  <a:gd name="T14" fmla="*/ 574 w 574"/>
                  <a:gd name="T15" fmla="*/ 413 h 569"/>
                  <a:gd name="T16" fmla="*/ 253 w 574"/>
                  <a:gd name="T17" fmla="*/ 413 h 569"/>
                  <a:gd name="T18" fmla="*/ 133 w 574"/>
                  <a:gd name="T19" fmla="*/ 286 h 569"/>
                  <a:gd name="T20" fmla="*/ 253 w 574"/>
                  <a:gd name="T21" fmla="*/ 155 h 569"/>
                  <a:gd name="T22" fmla="*/ 574 w 574"/>
                  <a:gd name="T23" fmla="*/ 155 h 569"/>
                  <a:gd name="T24" fmla="*/ 574 w 574"/>
                  <a:gd name="T25" fmla="*/ 0 h 569"/>
                  <a:gd name="T26" fmla="*/ 224 w 574"/>
                  <a:gd name="T27" fmla="*/ 0 h 569"/>
                  <a:gd name="T28" fmla="*/ 0 w 574"/>
                  <a:gd name="T29" fmla="*/ 22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569">
                    <a:moveTo>
                      <a:pt x="0" y="229"/>
                    </a:moveTo>
                    <a:cubicBezTo>
                      <a:pt x="0" y="294"/>
                      <a:pt x="30" y="368"/>
                      <a:pt x="90" y="413"/>
                    </a:cubicBezTo>
                    <a:cubicBezTo>
                      <a:pt x="90" y="413"/>
                      <a:pt x="90" y="413"/>
                      <a:pt x="90" y="413"/>
                    </a:cubicBezTo>
                    <a:cubicBezTo>
                      <a:pt x="90" y="413"/>
                      <a:pt x="90" y="413"/>
                      <a:pt x="90" y="413"/>
                    </a:cubicBezTo>
                    <a:cubicBezTo>
                      <a:pt x="9" y="413"/>
                      <a:pt x="9" y="413"/>
                      <a:pt x="9" y="413"/>
                    </a:cubicBezTo>
                    <a:cubicBezTo>
                      <a:pt x="9" y="569"/>
                      <a:pt x="9" y="569"/>
                      <a:pt x="9" y="569"/>
                    </a:cubicBezTo>
                    <a:cubicBezTo>
                      <a:pt x="574" y="569"/>
                      <a:pt x="574" y="569"/>
                      <a:pt x="574" y="569"/>
                    </a:cubicBezTo>
                    <a:cubicBezTo>
                      <a:pt x="574" y="413"/>
                      <a:pt x="574" y="413"/>
                      <a:pt x="574" y="413"/>
                    </a:cubicBezTo>
                    <a:cubicBezTo>
                      <a:pt x="253" y="413"/>
                      <a:pt x="253" y="413"/>
                      <a:pt x="253" y="413"/>
                    </a:cubicBezTo>
                    <a:cubicBezTo>
                      <a:pt x="195" y="413"/>
                      <a:pt x="133" y="369"/>
                      <a:pt x="133" y="286"/>
                    </a:cubicBezTo>
                    <a:cubicBezTo>
                      <a:pt x="133" y="221"/>
                      <a:pt x="178" y="155"/>
                      <a:pt x="253" y="155"/>
                    </a:cubicBezTo>
                    <a:cubicBezTo>
                      <a:pt x="574" y="155"/>
                      <a:pt x="574" y="155"/>
                      <a:pt x="574" y="155"/>
                    </a:cubicBezTo>
                    <a:cubicBezTo>
                      <a:pt x="574" y="0"/>
                      <a:pt x="574" y="0"/>
                      <a:pt x="574" y="0"/>
                    </a:cubicBezTo>
                    <a:cubicBezTo>
                      <a:pt x="224" y="0"/>
                      <a:pt x="224" y="0"/>
                      <a:pt x="224" y="0"/>
                    </a:cubicBezTo>
                    <a:cubicBezTo>
                      <a:pt x="94" y="0"/>
                      <a:pt x="0" y="93"/>
                      <a:pt x="0" y="2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30">
                <a:extLst>
                  <a:ext uri="{FF2B5EF4-FFF2-40B4-BE49-F238E27FC236}">
                    <a16:creationId xmlns:a16="http://schemas.microsoft.com/office/drawing/2014/main" id="{6D0A5711-84F8-6852-FC23-C9222B8AB056}"/>
                  </a:ext>
                </a:extLst>
              </p:cNvPr>
              <p:cNvSpPr>
                <a:spLocks/>
              </p:cNvSpPr>
              <p:nvPr userDrawn="1"/>
            </p:nvSpPr>
            <p:spPr bwMode="auto">
              <a:xfrm>
                <a:off x="7387546" y="755049"/>
                <a:ext cx="245577" cy="276163"/>
              </a:xfrm>
              <a:custGeom>
                <a:avLst/>
                <a:gdLst>
                  <a:gd name="T0" fmla="*/ 0 w 554"/>
                  <a:gd name="T1" fmla="*/ 174 h 623"/>
                  <a:gd name="T2" fmla="*/ 377 w 554"/>
                  <a:gd name="T3" fmla="*/ 311 h 623"/>
                  <a:gd name="T4" fmla="*/ 0 w 554"/>
                  <a:gd name="T5" fmla="*/ 450 h 623"/>
                  <a:gd name="T6" fmla="*/ 0 w 554"/>
                  <a:gd name="T7" fmla="*/ 623 h 623"/>
                  <a:gd name="T8" fmla="*/ 554 w 554"/>
                  <a:gd name="T9" fmla="*/ 395 h 623"/>
                  <a:gd name="T10" fmla="*/ 554 w 554"/>
                  <a:gd name="T11" fmla="*/ 228 h 623"/>
                  <a:gd name="T12" fmla="*/ 0 w 554"/>
                  <a:gd name="T13" fmla="*/ 0 h 623"/>
                  <a:gd name="T14" fmla="*/ 0 w 554"/>
                  <a:gd name="T15" fmla="*/ 174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623">
                    <a:moveTo>
                      <a:pt x="0" y="174"/>
                    </a:moveTo>
                    <a:lnTo>
                      <a:pt x="377" y="311"/>
                    </a:lnTo>
                    <a:lnTo>
                      <a:pt x="0" y="450"/>
                    </a:lnTo>
                    <a:lnTo>
                      <a:pt x="0" y="623"/>
                    </a:lnTo>
                    <a:lnTo>
                      <a:pt x="554" y="395"/>
                    </a:lnTo>
                    <a:lnTo>
                      <a:pt x="554" y="228"/>
                    </a:lnTo>
                    <a:lnTo>
                      <a:pt x="0" y="0"/>
                    </a:lnTo>
                    <a:lnTo>
                      <a:pt x="0"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31">
                <a:extLst>
                  <a:ext uri="{FF2B5EF4-FFF2-40B4-BE49-F238E27FC236}">
                    <a16:creationId xmlns:a16="http://schemas.microsoft.com/office/drawing/2014/main" id="{185085EF-D1B3-20ED-1267-AC7FAB1644FE}"/>
                  </a:ext>
                </a:extLst>
              </p:cNvPr>
              <p:cNvSpPr>
                <a:spLocks noEditPoints="1"/>
              </p:cNvSpPr>
              <p:nvPr userDrawn="1"/>
            </p:nvSpPr>
            <p:spPr bwMode="auto">
              <a:xfrm>
                <a:off x="7383556" y="1583096"/>
                <a:ext cx="253999" cy="256659"/>
              </a:xfrm>
              <a:custGeom>
                <a:avLst/>
                <a:gdLst>
                  <a:gd name="T0" fmla="*/ 401 w 584"/>
                  <a:gd name="T1" fmla="*/ 110 h 590"/>
                  <a:gd name="T2" fmla="*/ 460 w 584"/>
                  <a:gd name="T3" fmla="*/ 272 h 590"/>
                  <a:gd name="T4" fmla="*/ 415 w 584"/>
                  <a:gd name="T5" fmla="*/ 397 h 590"/>
                  <a:gd name="T6" fmla="*/ 250 w 584"/>
                  <a:gd name="T7" fmla="*/ 0 h 590"/>
                  <a:gd name="T8" fmla="*/ 92 w 584"/>
                  <a:gd name="T9" fmla="*/ 68 h 590"/>
                  <a:gd name="T10" fmla="*/ 0 w 584"/>
                  <a:gd name="T11" fmla="*/ 291 h 590"/>
                  <a:gd name="T12" fmla="*/ 292 w 584"/>
                  <a:gd name="T13" fmla="*/ 590 h 590"/>
                  <a:gd name="T14" fmla="*/ 584 w 584"/>
                  <a:gd name="T15" fmla="*/ 274 h 590"/>
                  <a:gd name="T16" fmla="*/ 476 w 584"/>
                  <a:gd name="T17" fmla="*/ 12 h 590"/>
                  <a:gd name="T18" fmla="*/ 401 w 584"/>
                  <a:gd name="T19" fmla="*/ 110 h 590"/>
                  <a:gd name="T20" fmla="*/ 179 w 584"/>
                  <a:gd name="T21" fmla="*/ 408 h 590"/>
                  <a:gd name="T22" fmla="*/ 123 w 584"/>
                  <a:gd name="T23" fmla="*/ 288 h 590"/>
                  <a:gd name="T24" fmla="*/ 202 w 584"/>
                  <a:gd name="T25" fmla="*/ 168 h 590"/>
                  <a:gd name="T26" fmla="*/ 315 w 584"/>
                  <a:gd name="T27" fmla="*/ 439 h 590"/>
                  <a:gd name="T28" fmla="*/ 179 w 584"/>
                  <a:gd name="T29" fmla="*/ 40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4" h="590">
                    <a:moveTo>
                      <a:pt x="401" y="110"/>
                    </a:moveTo>
                    <a:cubicBezTo>
                      <a:pt x="449" y="175"/>
                      <a:pt x="460" y="212"/>
                      <a:pt x="460" y="272"/>
                    </a:cubicBezTo>
                    <a:cubicBezTo>
                      <a:pt x="460" y="325"/>
                      <a:pt x="444" y="367"/>
                      <a:pt x="415" y="397"/>
                    </a:cubicBezTo>
                    <a:cubicBezTo>
                      <a:pt x="250" y="0"/>
                      <a:pt x="250" y="0"/>
                      <a:pt x="250" y="0"/>
                    </a:cubicBezTo>
                    <a:cubicBezTo>
                      <a:pt x="189" y="9"/>
                      <a:pt x="134" y="32"/>
                      <a:pt x="92" y="68"/>
                    </a:cubicBezTo>
                    <a:cubicBezTo>
                      <a:pt x="32" y="120"/>
                      <a:pt x="0" y="197"/>
                      <a:pt x="0" y="291"/>
                    </a:cubicBezTo>
                    <a:cubicBezTo>
                      <a:pt x="0" y="462"/>
                      <a:pt x="126" y="590"/>
                      <a:pt x="292" y="590"/>
                    </a:cubicBezTo>
                    <a:cubicBezTo>
                      <a:pt x="462" y="590"/>
                      <a:pt x="584" y="462"/>
                      <a:pt x="584" y="274"/>
                    </a:cubicBezTo>
                    <a:cubicBezTo>
                      <a:pt x="584" y="169"/>
                      <a:pt x="534" y="62"/>
                      <a:pt x="476" y="12"/>
                    </a:cubicBezTo>
                    <a:lnTo>
                      <a:pt x="401" y="110"/>
                    </a:lnTo>
                    <a:close/>
                    <a:moveTo>
                      <a:pt x="179" y="408"/>
                    </a:moveTo>
                    <a:cubicBezTo>
                      <a:pt x="144" y="381"/>
                      <a:pt x="123" y="339"/>
                      <a:pt x="123" y="288"/>
                    </a:cubicBezTo>
                    <a:cubicBezTo>
                      <a:pt x="123" y="232"/>
                      <a:pt x="155" y="190"/>
                      <a:pt x="202" y="168"/>
                    </a:cubicBezTo>
                    <a:cubicBezTo>
                      <a:pt x="315" y="439"/>
                      <a:pt x="315" y="439"/>
                      <a:pt x="315" y="439"/>
                    </a:cubicBezTo>
                    <a:cubicBezTo>
                      <a:pt x="257" y="447"/>
                      <a:pt x="212" y="432"/>
                      <a:pt x="179" y="4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32">
                <a:extLst>
                  <a:ext uri="{FF2B5EF4-FFF2-40B4-BE49-F238E27FC236}">
                    <a16:creationId xmlns:a16="http://schemas.microsoft.com/office/drawing/2014/main" id="{8434C32D-C325-1F32-5E19-6C9FC933AC3B}"/>
                  </a:ext>
                </a:extLst>
              </p:cNvPr>
              <p:cNvSpPr>
                <a:spLocks/>
              </p:cNvSpPr>
              <p:nvPr userDrawn="1"/>
            </p:nvSpPr>
            <p:spPr bwMode="auto">
              <a:xfrm>
                <a:off x="7313961" y="1846404"/>
                <a:ext cx="319161" cy="221640"/>
              </a:xfrm>
              <a:custGeom>
                <a:avLst/>
                <a:gdLst>
                  <a:gd name="T0" fmla="*/ 580 w 720"/>
                  <a:gd name="T1" fmla="*/ 0 h 500"/>
                  <a:gd name="T2" fmla="*/ 580 w 720"/>
                  <a:gd name="T3" fmla="*/ 346 h 500"/>
                  <a:gd name="T4" fmla="*/ 0 w 720"/>
                  <a:gd name="T5" fmla="*/ 346 h 500"/>
                  <a:gd name="T6" fmla="*/ 0 w 720"/>
                  <a:gd name="T7" fmla="*/ 500 h 500"/>
                  <a:gd name="T8" fmla="*/ 720 w 720"/>
                  <a:gd name="T9" fmla="*/ 500 h 500"/>
                  <a:gd name="T10" fmla="*/ 720 w 720"/>
                  <a:gd name="T11" fmla="*/ 0 h 500"/>
                  <a:gd name="T12" fmla="*/ 580 w 720"/>
                  <a:gd name="T13" fmla="*/ 0 h 500"/>
                </a:gdLst>
                <a:ahLst/>
                <a:cxnLst>
                  <a:cxn ang="0">
                    <a:pos x="T0" y="T1"/>
                  </a:cxn>
                  <a:cxn ang="0">
                    <a:pos x="T2" y="T3"/>
                  </a:cxn>
                  <a:cxn ang="0">
                    <a:pos x="T4" y="T5"/>
                  </a:cxn>
                  <a:cxn ang="0">
                    <a:pos x="T6" y="T7"/>
                  </a:cxn>
                  <a:cxn ang="0">
                    <a:pos x="T8" y="T9"/>
                  </a:cxn>
                  <a:cxn ang="0">
                    <a:pos x="T10" y="T11"/>
                  </a:cxn>
                  <a:cxn ang="0">
                    <a:pos x="T12" y="T13"/>
                  </a:cxn>
                </a:cxnLst>
                <a:rect l="0" t="0" r="r" b="b"/>
                <a:pathLst>
                  <a:path w="720" h="500">
                    <a:moveTo>
                      <a:pt x="580" y="0"/>
                    </a:moveTo>
                    <a:lnTo>
                      <a:pt x="580" y="346"/>
                    </a:lnTo>
                    <a:lnTo>
                      <a:pt x="0" y="346"/>
                    </a:lnTo>
                    <a:lnTo>
                      <a:pt x="0" y="500"/>
                    </a:lnTo>
                    <a:lnTo>
                      <a:pt x="720" y="500"/>
                    </a:lnTo>
                    <a:lnTo>
                      <a:pt x="720" y="0"/>
                    </a:lnTo>
                    <a:lnTo>
                      <a:pt x="5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33">
                <a:extLst>
                  <a:ext uri="{FF2B5EF4-FFF2-40B4-BE49-F238E27FC236}">
                    <a16:creationId xmlns:a16="http://schemas.microsoft.com/office/drawing/2014/main" id="{A281B950-B57F-4814-65C4-87F843CA0E1C}"/>
                  </a:ext>
                </a:extLst>
              </p:cNvPr>
              <p:cNvSpPr>
                <a:spLocks noEditPoints="1"/>
              </p:cNvSpPr>
              <p:nvPr userDrawn="1"/>
            </p:nvSpPr>
            <p:spPr bwMode="auto">
              <a:xfrm>
                <a:off x="7383556" y="501936"/>
                <a:ext cx="253999" cy="263752"/>
              </a:xfrm>
              <a:custGeom>
                <a:avLst/>
                <a:gdLst>
                  <a:gd name="T0" fmla="*/ 584 w 584"/>
                  <a:gd name="T1" fmla="*/ 304 h 607"/>
                  <a:gd name="T2" fmla="*/ 292 w 584"/>
                  <a:gd name="T3" fmla="*/ 607 h 607"/>
                  <a:gd name="T4" fmla="*/ 0 w 584"/>
                  <a:gd name="T5" fmla="*/ 302 h 607"/>
                  <a:gd name="T6" fmla="*/ 292 w 584"/>
                  <a:gd name="T7" fmla="*/ 0 h 607"/>
                  <a:gd name="T8" fmla="*/ 584 w 584"/>
                  <a:gd name="T9" fmla="*/ 304 h 607"/>
                  <a:gd name="T10" fmla="*/ 133 w 584"/>
                  <a:gd name="T11" fmla="*/ 304 h 607"/>
                  <a:gd name="T12" fmla="*/ 292 w 584"/>
                  <a:gd name="T13" fmla="*/ 454 h 607"/>
                  <a:gd name="T14" fmla="*/ 451 w 584"/>
                  <a:gd name="T15" fmla="*/ 302 h 607"/>
                  <a:gd name="T16" fmla="*/ 292 w 584"/>
                  <a:gd name="T17" fmla="*/ 153 h 607"/>
                  <a:gd name="T18" fmla="*/ 133 w 584"/>
                  <a:gd name="T19" fmla="*/ 30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4"/>
                    </a:moveTo>
                    <a:cubicBezTo>
                      <a:pt x="584" y="474"/>
                      <a:pt x="457" y="607"/>
                      <a:pt x="292" y="607"/>
                    </a:cubicBezTo>
                    <a:cubicBezTo>
                      <a:pt x="128" y="607"/>
                      <a:pt x="0" y="473"/>
                      <a:pt x="0" y="302"/>
                    </a:cubicBezTo>
                    <a:cubicBezTo>
                      <a:pt x="0" y="133"/>
                      <a:pt x="126" y="0"/>
                      <a:pt x="292" y="0"/>
                    </a:cubicBezTo>
                    <a:cubicBezTo>
                      <a:pt x="455" y="0"/>
                      <a:pt x="584" y="133"/>
                      <a:pt x="584" y="304"/>
                    </a:cubicBezTo>
                    <a:moveTo>
                      <a:pt x="133" y="304"/>
                    </a:moveTo>
                    <a:cubicBezTo>
                      <a:pt x="133" y="391"/>
                      <a:pt x="198" y="454"/>
                      <a:pt x="292" y="454"/>
                    </a:cubicBezTo>
                    <a:cubicBezTo>
                      <a:pt x="381" y="454"/>
                      <a:pt x="451" y="387"/>
                      <a:pt x="451" y="302"/>
                    </a:cubicBezTo>
                    <a:cubicBezTo>
                      <a:pt x="451" y="216"/>
                      <a:pt x="383" y="153"/>
                      <a:pt x="292" y="153"/>
                    </a:cubicBezTo>
                    <a:cubicBezTo>
                      <a:pt x="203" y="153"/>
                      <a:pt x="133" y="219"/>
                      <a:pt x="133" y="3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34">
                <a:extLst>
                  <a:ext uri="{FF2B5EF4-FFF2-40B4-BE49-F238E27FC236}">
                    <a16:creationId xmlns:a16="http://schemas.microsoft.com/office/drawing/2014/main" id="{EE465ED6-53DE-A385-42CB-0B5A75477346}"/>
                  </a:ext>
                </a:extLst>
              </p:cNvPr>
              <p:cNvSpPr>
                <a:spLocks noEditPoints="1"/>
              </p:cNvSpPr>
              <p:nvPr userDrawn="1"/>
            </p:nvSpPr>
            <p:spPr bwMode="auto">
              <a:xfrm>
                <a:off x="7383556" y="1021017"/>
                <a:ext cx="253999" cy="263752"/>
              </a:xfrm>
              <a:custGeom>
                <a:avLst/>
                <a:gdLst>
                  <a:gd name="T0" fmla="*/ 584 w 584"/>
                  <a:gd name="T1" fmla="*/ 305 h 607"/>
                  <a:gd name="T2" fmla="*/ 292 w 584"/>
                  <a:gd name="T3" fmla="*/ 607 h 607"/>
                  <a:gd name="T4" fmla="*/ 0 w 584"/>
                  <a:gd name="T5" fmla="*/ 303 h 607"/>
                  <a:gd name="T6" fmla="*/ 292 w 584"/>
                  <a:gd name="T7" fmla="*/ 0 h 607"/>
                  <a:gd name="T8" fmla="*/ 584 w 584"/>
                  <a:gd name="T9" fmla="*/ 305 h 607"/>
                  <a:gd name="T10" fmla="*/ 133 w 584"/>
                  <a:gd name="T11" fmla="*/ 305 h 607"/>
                  <a:gd name="T12" fmla="*/ 292 w 584"/>
                  <a:gd name="T13" fmla="*/ 454 h 607"/>
                  <a:gd name="T14" fmla="*/ 451 w 584"/>
                  <a:gd name="T15" fmla="*/ 303 h 607"/>
                  <a:gd name="T16" fmla="*/ 292 w 584"/>
                  <a:gd name="T17" fmla="*/ 153 h 607"/>
                  <a:gd name="T18" fmla="*/ 133 w 584"/>
                  <a:gd name="T19" fmla="*/ 3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5"/>
                    </a:moveTo>
                    <a:cubicBezTo>
                      <a:pt x="584" y="474"/>
                      <a:pt x="457" y="607"/>
                      <a:pt x="292" y="607"/>
                    </a:cubicBezTo>
                    <a:cubicBezTo>
                      <a:pt x="128" y="607"/>
                      <a:pt x="0" y="474"/>
                      <a:pt x="0" y="303"/>
                    </a:cubicBezTo>
                    <a:cubicBezTo>
                      <a:pt x="0" y="133"/>
                      <a:pt x="126" y="0"/>
                      <a:pt x="292" y="0"/>
                    </a:cubicBezTo>
                    <a:cubicBezTo>
                      <a:pt x="455" y="0"/>
                      <a:pt x="584" y="134"/>
                      <a:pt x="584" y="305"/>
                    </a:cubicBezTo>
                    <a:moveTo>
                      <a:pt x="133" y="305"/>
                    </a:moveTo>
                    <a:cubicBezTo>
                      <a:pt x="133" y="391"/>
                      <a:pt x="198" y="454"/>
                      <a:pt x="292" y="454"/>
                    </a:cubicBezTo>
                    <a:cubicBezTo>
                      <a:pt x="381" y="454"/>
                      <a:pt x="451" y="388"/>
                      <a:pt x="451" y="303"/>
                    </a:cubicBezTo>
                    <a:cubicBezTo>
                      <a:pt x="451" y="216"/>
                      <a:pt x="383" y="153"/>
                      <a:pt x="292" y="153"/>
                    </a:cubicBezTo>
                    <a:cubicBezTo>
                      <a:pt x="203" y="153"/>
                      <a:pt x="133" y="220"/>
                      <a:pt x="133" y="3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42" name="Group 41">
            <a:extLst>
              <a:ext uri="{FF2B5EF4-FFF2-40B4-BE49-F238E27FC236}">
                <a16:creationId xmlns:a16="http://schemas.microsoft.com/office/drawing/2014/main" id="{320E6808-E70B-FA4B-99F6-1C02BBC16598}"/>
              </a:ext>
            </a:extLst>
          </p:cNvPr>
          <p:cNvGrpSpPr/>
          <p:nvPr userDrawn="1"/>
        </p:nvGrpSpPr>
        <p:grpSpPr>
          <a:xfrm>
            <a:off x="1539348" y="3561908"/>
            <a:ext cx="7853422" cy="1769127"/>
            <a:chOff x="541049" y="2649538"/>
            <a:chExt cx="9285724" cy="2092325"/>
          </a:xfrm>
          <a:solidFill>
            <a:schemeClr val="bg1"/>
          </a:solidFill>
        </p:grpSpPr>
        <p:sp>
          <p:nvSpPr>
            <p:cNvPr id="43" name="Freeform 5">
              <a:extLst>
                <a:ext uri="{FF2B5EF4-FFF2-40B4-BE49-F238E27FC236}">
                  <a16:creationId xmlns:a16="http://schemas.microsoft.com/office/drawing/2014/main" id="{4C297CEF-136F-B1B7-09B1-55E4D7563FDB}"/>
                </a:ext>
              </a:extLst>
            </p:cNvPr>
            <p:cNvSpPr>
              <a:spLocks/>
            </p:cNvSpPr>
            <p:nvPr userDrawn="1"/>
          </p:nvSpPr>
          <p:spPr bwMode="auto">
            <a:xfrm>
              <a:off x="541049" y="2809876"/>
              <a:ext cx="963613" cy="1928813"/>
            </a:xfrm>
            <a:custGeom>
              <a:avLst/>
              <a:gdLst>
                <a:gd name="T0" fmla="*/ 57 w 301"/>
                <a:gd name="T1" fmla="*/ 458 h 600"/>
                <a:gd name="T2" fmla="*/ 57 w 301"/>
                <a:gd name="T3" fmla="*/ 235 h 600"/>
                <a:gd name="T4" fmla="*/ 0 w 301"/>
                <a:gd name="T5" fmla="*/ 235 h 600"/>
                <a:gd name="T6" fmla="*/ 0 w 301"/>
                <a:gd name="T7" fmla="*/ 121 h 600"/>
                <a:gd name="T8" fmla="*/ 57 w 301"/>
                <a:gd name="T9" fmla="*/ 121 h 600"/>
                <a:gd name="T10" fmla="*/ 57 w 301"/>
                <a:gd name="T11" fmla="*/ 0 h 600"/>
                <a:gd name="T12" fmla="*/ 190 w 301"/>
                <a:gd name="T13" fmla="*/ 0 h 600"/>
                <a:gd name="T14" fmla="*/ 190 w 301"/>
                <a:gd name="T15" fmla="*/ 121 h 600"/>
                <a:gd name="T16" fmla="*/ 301 w 301"/>
                <a:gd name="T17" fmla="*/ 121 h 600"/>
                <a:gd name="T18" fmla="*/ 301 w 301"/>
                <a:gd name="T19" fmla="*/ 235 h 600"/>
                <a:gd name="T20" fmla="*/ 190 w 301"/>
                <a:gd name="T21" fmla="*/ 235 h 600"/>
                <a:gd name="T22" fmla="*/ 190 w 301"/>
                <a:gd name="T23" fmla="*/ 436 h 600"/>
                <a:gd name="T24" fmla="*/ 233 w 301"/>
                <a:gd name="T25" fmla="*/ 482 h 600"/>
                <a:gd name="T26" fmla="*/ 299 w 301"/>
                <a:gd name="T27" fmla="*/ 465 h 600"/>
                <a:gd name="T28" fmla="*/ 299 w 301"/>
                <a:gd name="T29" fmla="*/ 573 h 600"/>
                <a:gd name="T30" fmla="*/ 194 w 301"/>
                <a:gd name="T31" fmla="*/ 600 h 600"/>
                <a:gd name="T32" fmla="*/ 57 w 301"/>
                <a:gd name="T33" fmla="*/ 45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600">
                  <a:moveTo>
                    <a:pt x="57" y="458"/>
                  </a:moveTo>
                  <a:cubicBezTo>
                    <a:pt x="57" y="235"/>
                    <a:pt x="57" y="235"/>
                    <a:pt x="57" y="235"/>
                  </a:cubicBezTo>
                  <a:cubicBezTo>
                    <a:pt x="0" y="235"/>
                    <a:pt x="0" y="235"/>
                    <a:pt x="0" y="235"/>
                  </a:cubicBezTo>
                  <a:cubicBezTo>
                    <a:pt x="0" y="121"/>
                    <a:pt x="0" y="121"/>
                    <a:pt x="0" y="121"/>
                  </a:cubicBezTo>
                  <a:cubicBezTo>
                    <a:pt x="57" y="121"/>
                    <a:pt x="57" y="121"/>
                    <a:pt x="57" y="121"/>
                  </a:cubicBezTo>
                  <a:cubicBezTo>
                    <a:pt x="57" y="0"/>
                    <a:pt x="57" y="0"/>
                    <a:pt x="57" y="0"/>
                  </a:cubicBezTo>
                  <a:cubicBezTo>
                    <a:pt x="190" y="0"/>
                    <a:pt x="190" y="0"/>
                    <a:pt x="190" y="0"/>
                  </a:cubicBezTo>
                  <a:cubicBezTo>
                    <a:pt x="190" y="121"/>
                    <a:pt x="190" y="121"/>
                    <a:pt x="190" y="121"/>
                  </a:cubicBezTo>
                  <a:cubicBezTo>
                    <a:pt x="301" y="121"/>
                    <a:pt x="301" y="121"/>
                    <a:pt x="301" y="121"/>
                  </a:cubicBezTo>
                  <a:cubicBezTo>
                    <a:pt x="301" y="235"/>
                    <a:pt x="301" y="235"/>
                    <a:pt x="301" y="235"/>
                  </a:cubicBezTo>
                  <a:cubicBezTo>
                    <a:pt x="190" y="235"/>
                    <a:pt x="190" y="235"/>
                    <a:pt x="190" y="235"/>
                  </a:cubicBezTo>
                  <a:cubicBezTo>
                    <a:pt x="190" y="436"/>
                    <a:pt x="190" y="436"/>
                    <a:pt x="190" y="436"/>
                  </a:cubicBezTo>
                  <a:cubicBezTo>
                    <a:pt x="190" y="467"/>
                    <a:pt x="203" y="482"/>
                    <a:pt x="233" y="482"/>
                  </a:cubicBezTo>
                  <a:cubicBezTo>
                    <a:pt x="258" y="482"/>
                    <a:pt x="280" y="476"/>
                    <a:pt x="299" y="465"/>
                  </a:cubicBezTo>
                  <a:cubicBezTo>
                    <a:pt x="299" y="573"/>
                    <a:pt x="299" y="573"/>
                    <a:pt x="299" y="573"/>
                  </a:cubicBezTo>
                  <a:cubicBezTo>
                    <a:pt x="271" y="590"/>
                    <a:pt x="239" y="600"/>
                    <a:pt x="194" y="600"/>
                  </a:cubicBezTo>
                  <a:cubicBezTo>
                    <a:pt x="112" y="600"/>
                    <a:pt x="57" y="568"/>
                    <a:pt x="57"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6">
              <a:extLst>
                <a:ext uri="{FF2B5EF4-FFF2-40B4-BE49-F238E27FC236}">
                  <a16:creationId xmlns:a16="http://schemas.microsoft.com/office/drawing/2014/main" id="{622BAF6B-1742-15FD-B0EB-40B8C3DC1168}"/>
                </a:ext>
              </a:extLst>
            </p:cNvPr>
            <p:cNvSpPr>
              <a:spLocks/>
            </p:cNvSpPr>
            <p:nvPr userDrawn="1"/>
          </p:nvSpPr>
          <p:spPr bwMode="auto">
            <a:xfrm>
              <a:off x="1708151" y="2649538"/>
              <a:ext cx="1382713" cy="2063750"/>
            </a:xfrm>
            <a:custGeom>
              <a:avLst/>
              <a:gdLst>
                <a:gd name="T0" fmla="*/ 0 w 432"/>
                <a:gd name="T1" fmla="*/ 0 h 642"/>
                <a:gd name="T2" fmla="*/ 134 w 432"/>
                <a:gd name="T3" fmla="*/ 0 h 642"/>
                <a:gd name="T4" fmla="*/ 134 w 432"/>
                <a:gd name="T5" fmla="*/ 237 h 642"/>
                <a:gd name="T6" fmla="*/ 272 w 432"/>
                <a:gd name="T7" fmla="*/ 162 h 642"/>
                <a:gd name="T8" fmla="*/ 432 w 432"/>
                <a:gd name="T9" fmla="*/ 337 h 642"/>
                <a:gd name="T10" fmla="*/ 432 w 432"/>
                <a:gd name="T11" fmla="*/ 642 h 642"/>
                <a:gd name="T12" fmla="*/ 298 w 432"/>
                <a:gd name="T13" fmla="*/ 642 h 642"/>
                <a:gd name="T14" fmla="*/ 298 w 432"/>
                <a:gd name="T15" fmla="*/ 379 h 642"/>
                <a:gd name="T16" fmla="*/ 218 w 432"/>
                <a:gd name="T17" fmla="*/ 283 h 642"/>
                <a:gd name="T18" fmla="*/ 134 w 432"/>
                <a:gd name="T19" fmla="*/ 379 h 642"/>
                <a:gd name="T20" fmla="*/ 134 w 432"/>
                <a:gd name="T21" fmla="*/ 642 h 642"/>
                <a:gd name="T22" fmla="*/ 0 w 432"/>
                <a:gd name="T23" fmla="*/ 642 h 642"/>
                <a:gd name="T24" fmla="*/ 0 w 432"/>
                <a:gd name="T25"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642">
                  <a:moveTo>
                    <a:pt x="0" y="0"/>
                  </a:moveTo>
                  <a:cubicBezTo>
                    <a:pt x="134" y="0"/>
                    <a:pt x="134" y="0"/>
                    <a:pt x="134" y="0"/>
                  </a:cubicBezTo>
                  <a:cubicBezTo>
                    <a:pt x="134" y="237"/>
                    <a:pt x="134" y="237"/>
                    <a:pt x="134" y="237"/>
                  </a:cubicBezTo>
                  <a:cubicBezTo>
                    <a:pt x="165" y="198"/>
                    <a:pt x="204" y="162"/>
                    <a:pt x="272" y="162"/>
                  </a:cubicBezTo>
                  <a:cubicBezTo>
                    <a:pt x="373" y="162"/>
                    <a:pt x="432" y="229"/>
                    <a:pt x="432" y="337"/>
                  </a:cubicBezTo>
                  <a:cubicBezTo>
                    <a:pt x="432" y="642"/>
                    <a:pt x="432" y="642"/>
                    <a:pt x="432" y="642"/>
                  </a:cubicBezTo>
                  <a:cubicBezTo>
                    <a:pt x="298" y="642"/>
                    <a:pt x="298" y="642"/>
                    <a:pt x="298" y="642"/>
                  </a:cubicBezTo>
                  <a:cubicBezTo>
                    <a:pt x="298" y="379"/>
                    <a:pt x="298" y="379"/>
                    <a:pt x="298" y="379"/>
                  </a:cubicBezTo>
                  <a:cubicBezTo>
                    <a:pt x="298" y="316"/>
                    <a:pt x="269" y="283"/>
                    <a:pt x="218" y="283"/>
                  </a:cubicBezTo>
                  <a:cubicBezTo>
                    <a:pt x="166" y="283"/>
                    <a:pt x="134" y="316"/>
                    <a:pt x="134" y="379"/>
                  </a:cubicBezTo>
                  <a:cubicBezTo>
                    <a:pt x="134" y="642"/>
                    <a:pt x="134" y="642"/>
                    <a:pt x="134" y="642"/>
                  </a:cubicBezTo>
                  <a:cubicBezTo>
                    <a:pt x="0" y="642"/>
                    <a:pt x="0" y="642"/>
                    <a:pt x="0" y="64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7">
              <a:extLst>
                <a:ext uri="{FF2B5EF4-FFF2-40B4-BE49-F238E27FC236}">
                  <a16:creationId xmlns:a16="http://schemas.microsoft.com/office/drawing/2014/main" id="{788B3367-A4C9-CCD9-A688-1D2826A4B010}"/>
                </a:ext>
              </a:extLst>
            </p:cNvPr>
            <p:cNvSpPr>
              <a:spLocks noEditPoints="1"/>
            </p:cNvSpPr>
            <p:nvPr userDrawn="1"/>
          </p:nvSpPr>
          <p:spPr bwMode="auto">
            <a:xfrm>
              <a:off x="3261304" y="3179763"/>
              <a:ext cx="1390650" cy="1562100"/>
            </a:xfrm>
            <a:custGeom>
              <a:avLst/>
              <a:gdLst>
                <a:gd name="T0" fmla="*/ 0 w 434"/>
                <a:gd name="T1" fmla="*/ 342 h 486"/>
                <a:gd name="T2" fmla="*/ 0 w 434"/>
                <a:gd name="T3" fmla="*/ 340 h 486"/>
                <a:gd name="T4" fmla="*/ 190 w 434"/>
                <a:gd name="T5" fmla="*/ 189 h 486"/>
                <a:gd name="T6" fmla="*/ 305 w 434"/>
                <a:gd name="T7" fmla="*/ 209 h 486"/>
                <a:gd name="T8" fmla="*/ 305 w 434"/>
                <a:gd name="T9" fmla="*/ 201 h 486"/>
                <a:gd name="T10" fmla="*/ 204 w 434"/>
                <a:gd name="T11" fmla="*/ 115 h 486"/>
                <a:gd name="T12" fmla="*/ 74 w 434"/>
                <a:gd name="T13" fmla="*/ 140 h 486"/>
                <a:gd name="T14" fmla="*/ 40 w 434"/>
                <a:gd name="T15" fmla="*/ 38 h 486"/>
                <a:gd name="T16" fmla="*/ 223 w 434"/>
                <a:gd name="T17" fmla="*/ 0 h 486"/>
                <a:gd name="T18" fmla="*/ 383 w 434"/>
                <a:gd name="T19" fmla="*/ 53 h 486"/>
                <a:gd name="T20" fmla="*/ 434 w 434"/>
                <a:gd name="T21" fmla="*/ 204 h 486"/>
                <a:gd name="T22" fmla="*/ 434 w 434"/>
                <a:gd name="T23" fmla="*/ 477 h 486"/>
                <a:gd name="T24" fmla="*/ 304 w 434"/>
                <a:gd name="T25" fmla="*/ 477 h 486"/>
                <a:gd name="T26" fmla="*/ 304 w 434"/>
                <a:gd name="T27" fmla="*/ 426 h 486"/>
                <a:gd name="T28" fmla="*/ 162 w 434"/>
                <a:gd name="T29" fmla="*/ 486 h 486"/>
                <a:gd name="T30" fmla="*/ 0 w 434"/>
                <a:gd name="T31" fmla="*/ 342 h 486"/>
                <a:gd name="T32" fmla="*/ 307 w 434"/>
                <a:gd name="T33" fmla="*/ 311 h 486"/>
                <a:gd name="T34" fmla="*/ 307 w 434"/>
                <a:gd name="T35" fmla="*/ 287 h 486"/>
                <a:gd name="T36" fmla="*/ 222 w 434"/>
                <a:gd name="T37" fmla="*/ 270 h 486"/>
                <a:gd name="T38" fmla="*/ 129 w 434"/>
                <a:gd name="T39" fmla="*/ 335 h 486"/>
                <a:gd name="T40" fmla="*/ 129 w 434"/>
                <a:gd name="T41" fmla="*/ 336 h 486"/>
                <a:gd name="T42" fmla="*/ 202 w 434"/>
                <a:gd name="T43" fmla="*/ 394 h 486"/>
                <a:gd name="T44" fmla="*/ 307 w 434"/>
                <a:gd name="T45" fmla="*/ 31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4" h="486">
                  <a:moveTo>
                    <a:pt x="0" y="342"/>
                  </a:moveTo>
                  <a:cubicBezTo>
                    <a:pt x="0" y="340"/>
                    <a:pt x="0" y="340"/>
                    <a:pt x="0" y="340"/>
                  </a:cubicBezTo>
                  <a:cubicBezTo>
                    <a:pt x="0" y="237"/>
                    <a:pt x="78" y="189"/>
                    <a:pt x="190" y="189"/>
                  </a:cubicBezTo>
                  <a:cubicBezTo>
                    <a:pt x="237" y="189"/>
                    <a:pt x="272" y="197"/>
                    <a:pt x="305" y="209"/>
                  </a:cubicBezTo>
                  <a:cubicBezTo>
                    <a:pt x="305" y="201"/>
                    <a:pt x="305" y="201"/>
                    <a:pt x="305" y="201"/>
                  </a:cubicBezTo>
                  <a:cubicBezTo>
                    <a:pt x="305" y="145"/>
                    <a:pt x="271" y="115"/>
                    <a:pt x="204" y="115"/>
                  </a:cubicBezTo>
                  <a:cubicBezTo>
                    <a:pt x="153" y="115"/>
                    <a:pt x="117" y="124"/>
                    <a:pt x="74" y="140"/>
                  </a:cubicBezTo>
                  <a:cubicBezTo>
                    <a:pt x="40" y="38"/>
                    <a:pt x="40" y="38"/>
                    <a:pt x="40" y="38"/>
                  </a:cubicBezTo>
                  <a:cubicBezTo>
                    <a:pt x="92" y="15"/>
                    <a:pt x="143" y="0"/>
                    <a:pt x="223" y="0"/>
                  </a:cubicBezTo>
                  <a:cubicBezTo>
                    <a:pt x="296" y="0"/>
                    <a:pt x="349" y="20"/>
                    <a:pt x="383" y="53"/>
                  </a:cubicBezTo>
                  <a:cubicBezTo>
                    <a:pt x="418" y="88"/>
                    <a:pt x="434" y="140"/>
                    <a:pt x="434" y="204"/>
                  </a:cubicBezTo>
                  <a:cubicBezTo>
                    <a:pt x="434" y="477"/>
                    <a:pt x="434" y="477"/>
                    <a:pt x="434" y="477"/>
                  </a:cubicBezTo>
                  <a:cubicBezTo>
                    <a:pt x="304" y="477"/>
                    <a:pt x="304" y="477"/>
                    <a:pt x="304" y="477"/>
                  </a:cubicBezTo>
                  <a:cubicBezTo>
                    <a:pt x="304" y="426"/>
                    <a:pt x="304" y="426"/>
                    <a:pt x="304" y="426"/>
                  </a:cubicBezTo>
                  <a:cubicBezTo>
                    <a:pt x="272" y="462"/>
                    <a:pt x="227" y="486"/>
                    <a:pt x="162" y="486"/>
                  </a:cubicBezTo>
                  <a:cubicBezTo>
                    <a:pt x="73" y="486"/>
                    <a:pt x="0" y="435"/>
                    <a:pt x="0" y="342"/>
                  </a:cubicBezTo>
                  <a:close/>
                  <a:moveTo>
                    <a:pt x="307" y="311"/>
                  </a:moveTo>
                  <a:cubicBezTo>
                    <a:pt x="307" y="287"/>
                    <a:pt x="307" y="287"/>
                    <a:pt x="307" y="287"/>
                  </a:cubicBezTo>
                  <a:cubicBezTo>
                    <a:pt x="284" y="277"/>
                    <a:pt x="254" y="270"/>
                    <a:pt x="222" y="270"/>
                  </a:cubicBezTo>
                  <a:cubicBezTo>
                    <a:pt x="164" y="270"/>
                    <a:pt x="129" y="292"/>
                    <a:pt x="129" y="335"/>
                  </a:cubicBezTo>
                  <a:cubicBezTo>
                    <a:pt x="129" y="336"/>
                    <a:pt x="129" y="336"/>
                    <a:pt x="129" y="336"/>
                  </a:cubicBezTo>
                  <a:cubicBezTo>
                    <a:pt x="129" y="372"/>
                    <a:pt x="159" y="394"/>
                    <a:pt x="202" y="394"/>
                  </a:cubicBezTo>
                  <a:cubicBezTo>
                    <a:pt x="265" y="394"/>
                    <a:pt x="307" y="359"/>
                    <a:pt x="307"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8">
              <a:extLst>
                <a:ext uri="{FF2B5EF4-FFF2-40B4-BE49-F238E27FC236}">
                  <a16:creationId xmlns:a16="http://schemas.microsoft.com/office/drawing/2014/main" id="{E75C15B3-8177-7E6B-C4A7-1B9D3FB9D027}"/>
                </a:ext>
              </a:extLst>
            </p:cNvPr>
            <p:cNvSpPr>
              <a:spLocks/>
            </p:cNvSpPr>
            <p:nvPr userDrawn="1"/>
          </p:nvSpPr>
          <p:spPr bwMode="auto">
            <a:xfrm>
              <a:off x="4859916" y="3170238"/>
              <a:ext cx="1384300" cy="1543050"/>
            </a:xfrm>
            <a:custGeom>
              <a:avLst/>
              <a:gdLst>
                <a:gd name="T0" fmla="*/ 0 w 432"/>
                <a:gd name="T1" fmla="*/ 9 h 480"/>
                <a:gd name="T2" fmla="*/ 133 w 432"/>
                <a:gd name="T3" fmla="*/ 9 h 480"/>
                <a:gd name="T4" fmla="*/ 133 w 432"/>
                <a:gd name="T5" fmla="*/ 75 h 480"/>
                <a:gd name="T6" fmla="*/ 272 w 432"/>
                <a:gd name="T7" fmla="*/ 0 h 480"/>
                <a:gd name="T8" fmla="*/ 432 w 432"/>
                <a:gd name="T9" fmla="*/ 175 h 480"/>
                <a:gd name="T10" fmla="*/ 432 w 432"/>
                <a:gd name="T11" fmla="*/ 480 h 480"/>
                <a:gd name="T12" fmla="*/ 298 w 432"/>
                <a:gd name="T13" fmla="*/ 480 h 480"/>
                <a:gd name="T14" fmla="*/ 298 w 432"/>
                <a:gd name="T15" fmla="*/ 217 h 480"/>
                <a:gd name="T16" fmla="*/ 217 w 432"/>
                <a:gd name="T17" fmla="*/ 121 h 480"/>
                <a:gd name="T18" fmla="*/ 133 w 432"/>
                <a:gd name="T19" fmla="*/ 217 h 480"/>
                <a:gd name="T20" fmla="*/ 133 w 432"/>
                <a:gd name="T21" fmla="*/ 480 h 480"/>
                <a:gd name="T22" fmla="*/ 0 w 432"/>
                <a:gd name="T23" fmla="*/ 480 h 480"/>
                <a:gd name="T24" fmla="*/ 0 w 432"/>
                <a:gd name="T25" fmla="*/ 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480">
                  <a:moveTo>
                    <a:pt x="0" y="9"/>
                  </a:moveTo>
                  <a:cubicBezTo>
                    <a:pt x="133" y="9"/>
                    <a:pt x="133" y="9"/>
                    <a:pt x="133" y="9"/>
                  </a:cubicBezTo>
                  <a:cubicBezTo>
                    <a:pt x="133" y="75"/>
                    <a:pt x="133" y="75"/>
                    <a:pt x="133" y="75"/>
                  </a:cubicBezTo>
                  <a:cubicBezTo>
                    <a:pt x="164" y="36"/>
                    <a:pt x="204" y="0"/>
                    <a:pt x="272" y="0"/>
                  </a:cubicBezTo>
                  <a:cubicBezTo>
                    <a:pt x="373" y="0"/>
                    <a:pt x="432" y="67"/>
                    <a:pt x="432" y="175"/>
                  </a:cubicBezTo>
                  <a:cubicBezTo>
                    <a:pt x="432" y="480"/>
                    <a:pt x="432" y="480"/>
                    <a:pt x="432" y="480"/>
                  </a:cubicBezTo>
                  <a:cubicBezTo>
                    <a:pt x="298" y="480"/>
                    <a:pt x="298" y="480"/>
                    <a:pt x="298" y="480"/>
                  </a:cubicBezTo>
                  <a:cubicBezTo>
                    <a:pt x="298" y="217"/>
                    <a:pt x="298" y="217"/>
                    <a:pt x="298" y="217"/>
                  </a:cubicBezTo>
                  <a:cubicBezTo>
                    <a:pt x="298" y="154"/>
                    <a:pt x="268" y="121"/>
                    <a:pt x="217" y="121"/>
                  </a:cubicBezTo>
                  <a:cubicBezTo>
                    <a:pt x="166" y="121"/>
                    <a:pt x="133" y="154"/>
                    <a:pt x="133" y="217"/>
                  </a:cubicBezTo>
                  <a:cubicBezTo>
                    <a:pt x="133" y="480"/>
                    <a:pt x="133" y="480"/>
                    <a:pt x="133" y="480"/>
                  </a:cubicBezTo>
                  <a:cubicBezTo>
                    <a:pt x="0" y="480"/>
                    <a:pt x="0" y="480"/>
                    <a:pt x="0" y="480"/>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9">
              <a:extLst>
                <a:ext uri="{FF2B5EF4-FFF2-40B4-BE49-F238E27FC236}">
                  <a16:creationId xmlns:a16="http://schemas.microsoft.com/office/drawing/2014/main" id="{AA27F0F6-EBAD-77B3-0964-617F5FC5A0BD}"/>
                </a:ext>
              </a:extLst>
            </p:cNvPr>
            <p:cNvSpPr>
              <a:spLocks/>
            </p:cNvSpPr>
            <p:nvPr userDrawn="1"/>
          </p:nvSpPr>
          <p:spPr bwMode="auto">
            <a:xfrm>
              <a:off x="6436593" y="2649538"/>
              <a:ext cx="1460500" cy="2063750"/>
            </a:xfrm>
            <a:custGeom>
              <a:avLst/>
              <a:gdLst>
                <a:gd name="T0" fmla="*/ 0 w 920"/>
                <a:gd name="T1" fmla="*/ 0 h 1300"/>
                <a:gd name="T2" fmla="*/ 270 w 920"/>
                <a:gd name="T3" fmla="*/ 0 h 1300"/>
                <a:gd name="T4" fmla="*/ 270 w 920"/>
                <a:gd name="T5" fmla="*/ 692 h 1300"/>
                <a:gd name="T6" fmla="*/ 585 w 920"/>
                <a:gd name="T7" fmla="*/ 346 h 1300"/>
                <a:gd name="T8" fmla="*/ 908 w 920"/>
                <a:gd name="T9" fmla="*/ 346 h 1300"/>
                <a:gd name="T10" fmla="*/ 547 w 920"/>
                <a:gd name="T11" fmla="*/ 721 h 1300"/>
                <a:gd name="T12" fmla="*/ 920 w 920"/>
                <a:gd name="T13" fmla="*/ 1300 h 1300"/>
                <a:gd name="T14" fmla="*/ 609 w 920"/>
                <a:gd name="T15" fmla="*/ 1300 h 1300"/>
                <a:gd name="T16" fmla="*/ 365 w 920"/>
                <a:gd name="T17" fmla="*/ 909 h 1300"/>
                <a:gd name="T18" fmla="*/ 270 w 920"/>
                <a:gd name="T19" fmla="*/ 1010 h 1300"/>
                <a:gd name="T20" fmla="*/ 270 w 920"/>
                <a:gd name="T21" fmla="*/ 1300 h 1300"/>
                <a:gd name="T22" fmla="*/ 0 w 920"/>
                <a:gd name="T23" fmla="*/ 1300 h 1300"/>
                <a:gd name="T24" fmla="*/ 0 w 920"/>
                <a:gd name="T2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0" h="1300">
                  <a:moveTo>
                    <a:pt x="0" y="0"/>
                  </a:moveTo>
                  <a:lnTo>
                    <a:pt x="270" y="0"/>
                  </a:lnTo>
                  <a:lnTo>
                    <a:pt x="270" y="692"/>
                  </a:lnTo>
                  <a:lnTo>
                    <a:pt x="585" y="346"/>
                  </a:lnTo>
                  <a:lnTo>
                    <a:pt x="908" y="346"/>
                  </a:lnTo>
                  <a:lnTo>
                    <a:pt x="547" y="721"/>
                  </a:lnTo>
                  <a:lnTo>
                    <a:pt x="920" y="1300"/>
                  </a:lnTo>
                  <a:lnTo>
                    <a:pt x="609" y="1300"/>
                  </a:lnTo>
                  <a:lnTo>
                    <a:pt x="365" y="909"/>
                  </a:lnTo>
                  <a:lnTo>
                    <a:pt x="270" y="1010"/>
                  </a:lnTo>
                  <a:lnTo>
                    <a:pt x="270" y="1300"/>
                  </a:lnTo>
                  <a:lnTo>
                    <a:pt x="0" y="13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10">
              <a:extLst>
                <a:ext uri="{FF2B5EF4-FFF2-40B4-BE49-F238E27FC236}">
                  <a16:creationId xmlns:a16="http://schemas.microsoft.com/office/drawing/2014/main" id="{0D449E32-BCCB-5FA7-37E4-30FF7569B638}"/>
                </a:ext>
              </a:extLst>
            </p:cNvPr>
            <p:cNvSpPr>
              <a:spLocks/>
            </p:cNvSpPr>
            <p:nvPr userDrawn="1"/>
          </p:nvSpPr>
          <p:spPr bwMode="auto">
            <a:xfrm>
              <a:off x="7919896" y="3173413"/>
              <a:ext cx="1227138" cy="1568450"/>
            </a:xfrm>
            <a:custGeom>
              <a:avLst/>
              <a:gdLst>
                <a:gd name="T0" fmla="*/ 0 w 383"/>
                <a:gd name="T1" fmla="*/ 417 h 488"/>
                <a:gd name="T2" fmla="*/ 57 w 383"/>
                <a:gd name="T3" fmla="*/ 329 h 488"/>
                <a:gd name="T4" fmla="*/ 206 w 383"/>
                <a:gd name="T5" fmla="*/ 385 h 488"/>
                <a:gd name="T6" fmla="*/ 262 w 383"/>
                <a:gd name="T7" fmla="*/ 350 h 488"/>
                <a:gd name="T8" fmla="*/ 262 w 383"/>
                <a:gd name="T9" fmla="*/ 348 h 488"/>
                <a:gd name="T10" fmla="*/ 165 w 383"/>
                <a:gd name="T11" fmla="*/ 294 h 488"/>
                <a:gd name="T12" fmla="*/ 24 w 383"/>
                <a:gd name="T13" fmla="*/ 152 h 488"/>
                <a:gd name="T14" fmla="*/ 24 w 383"/>
                <a:gd name="T15" fmla="*/ 150 h 488"/>
                <a:gd name="T16" fmla="*/ 196 w 383"/>
                <a:gd name="T17" fmla="*/ 0 h 488"/>
                <a:gd name="T18" fmla="*/ 372 w 383"/>
                <a:gd name="T19" fmla="*/ 55 h 488"/>
                <a:gd name="T20" fmla="*/ 321 w 383"/>
                <a:gd name="T21" fmla="*/ 147 h 488"/>
                <a:gd name="T22" fmla="*/ 194 w 383"/>
                <a:gd name="T23" fmla="*/ 103 h 488"/>
                <a:gd name="T24" fmla="*/ 144 w 383"/>
                <a:gd name="T25" fmla="*/ 136 h 488"/>
                <a:gd name="T26" fmla="*/ 144 w 383"/>
                <a:gd name="T27" fmla="*/ 138 h 488"/>
                <a:gd name="T28" fmla="*/ 240 w 383"/>
                <a:gd name="T29" fmla="*/ 194 h 488"/>
                <a:gd name="T30" fmla="*/ 383 w 383"/>
                <a:gd name="T31" fmla="*/ 334 h 488"/>
                <a:gd name="T32" fmla="*/ 383 w 383"/>
                <a:gd name="T33" fmla="*/ 336 h 488"/>
                <a:gd name="T34" fmla="*/ 203 w 383"/>
                <a:gd name="T35" fmla="*/ 488 h 488"/>
                <a:gd name="T36" fmla="*/ 0 w 383"/>
                <a:gd name="T37" fmla="*/ 41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3" h="488">
                  <a:moveTo>
                    <a:pt x="0" y="417"/>
                  </a:moveTo>
                  <a:cubicBezTo>
                    <a:pt x="57" y="329"/>
                    <a:pt x="57" y="329"/>
                    <a:pt x="57" y="329"/>
                  </a:cubicBezTo>
                  <a:cubicBezTo>
                    <a:pt x="108" y="366"/>
                    <a:pt x="162" y="385"/>
                    <a:pt x="206" y="385"/>
                  </a:cubicBezTo>
                  <a:cubicBezTo>
                    <a:pt x="245" y="385"/>
                    <a:pt x="262" y="371"/>
                    <a:pt x="262" y="350"/>
                  </a:cubicBezTo>
                  <a:cubicBezTo>
                    <a:pt x="262" y="348"/>
                    <a:pt x="262" y="348"/>
                    <a:pt x="262" y="348"/>
                  </a:cubicBezTo>
                  <a:cubicBezTo>
                    <a:pt x="262" y="319"/>
                    <a:pt x="217" y="309"/>
                    <a:pt x="165" y="294"/>
                  </a:cubicBezTo>
                  <a:cubicBezTo>
                    <a:pt x="99" y="274"/>
                    <a:pt x="24" y="243"/>
                    <a:pt x="24" y="152"/>
                  </a:cubicBezTo>
                  <a:cubicBezTo>
                    <a:pt x="24" y="150"/>
                    <a:pt x="24" y="150"/>
                    <a:pt x="24" y="150"/>
                  </a:cubicBezTo>
                  <a:cubicBezTo>
                    <a:pt x="24" y="54"/>
                    <a:pt x="101" y="0"/>
                    <a:pt x="196" y="0"/>
                  </a:cubicBezTo>
                  <a:cubicBezTo>
                    <a:pt x="256" y="0"/>
                    <a:pt x="321" y="21"/>
                    <a:pt x="372" y="55"/>
                  </a:cubicBezTo>
                  <a:cubicBezTo>
                    <a:pt x="321" y="147"/>
                    <a:pt x="321" y="147"/>
                    <a:pt x="321" y="147"/>
                  </a:cubicBezTo>
                  <a:cubicBezTo>
                    <a:pt x="275" y="120"/>
                    <a:pt x="228" y="103"/>
                    <a:pt x="194" y="103"/>
                  </a:cubicBezTo>
                  <a:cubicBezTo>
                    <a:pt x="161" y="103"/>
                    <a:pt x="144" y="118"/>
                    <a:pt x="144" y="136"/>
                  </a:cubicBezTo>
                  <a:cubicBezTo>
                    <a:pt x="144" y="138"/>
                    <a:pt x="144" y="138"/>
                    <a:pt x="144" y="138"/>
                  </a:cubicBezTo>
                  <a:cubicBezTo>
                    <a:pt x="144" y="164"/>
                    <a:pt x="189" y="176"/>
                    <a:pt x="240" y="194"/>
                  </a:cubicBezTo>
                  <a:cubicBezTo>
                    <a:pt x="306" y="216"/>
                    <a:pt x="383" y="248"/>
                    <a:pt x="383" y="334"/>
                  </a:cubicBezTo>
                  <a:cubicBezTo>
                    <a:pt x="383" y="336"/>
                    <a:pt x="383" y="336"/>
                    <a:pt x="383" y="336"/>
                  </a:cubicBezTo>
                  <a:cubicBezTo>
                    <a:pt x="383" y="440"/>
                    <a:pt x="305" y="488"/>
                    <a:pt x="203" y="488"/>
                  </a:cubicBezTo>
                  <a:cubicBezTo>
                    <a:pt x="137" y="488"/>
                    <a:pt x="63" y="466"/>
                    <a:pt x="0"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Oval 11">
              <a:extLst>
                <a:ext uri="{FF2B5EF4-FFF2-40B4-BE49-F238E27FC236}">
                  <a16:creationId xmlns:a16="http://schemas.microsoft.com/office/drawing/2014/main" id="{DF4FD3AA-2A1C-04CA-7759-A7926327B4AA}"/>
                </a:ext>
              </a:extLst>
            </p:cNvPr>
            <p:cNvSpPr>
              <a:spLocks noChangeArrowheads="1"/>
            </p:cNvSpPr>
            <p:nvPr userDrawn="1"/>
          </p:nvSpPr>
          <p:spPr bwMode="auto">
            <a:xfrm>
              <a:off x="9282260" y="4167188"/>
              <a:ext cx="544513" cy="546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18948025"/>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 No Background">
    <p:spTree>
      <p:nvGrpSpPr>
        <p:cNvPr id="1" name=""/>
        <p:cNvGrpSpPr/>
        <p:nvPr/>
      </p:nvGrpSpPr>
      <p:grpSpPr>
        <a:xfrm>
          <a:off x="0" y="0"/>
          <a:ext cx="0" cy="0"/>
          <a:chOff x="0" y="0"/>
          <a:chExt cx="0" cy="0"/>
        </a:xfrm>
      </p:grpSpPr>
      <p:sp>
        <p:nvSpPr>
          <p:cNvPr id="10" name="Footer Placeholder 9"/>
          <p:cNvSpPr>
            <a:spLocks noGrp="1"/>
          </p:cNvSpPr>
          <p:nvPr>
            <p:ph type="ftr" sz="quarter" idx="10"/>
          </p:nvPr>
        </p:nvSpPr>
        <p:spPr/>
        <p:txBody>
          <a:bodyPr/>
          <a:lstStyle>
            <a:lvl1pPr>
              <a:defRPr cap="none"/>
            </a:lvl1pPr>
          </a:lstStyle>
          <a:p>
            <a:endParaRPr lang="en-US" sz="1000">
              <a:solidFill>
                <a:srgbClr val="939598"/>
              </a:solidFill>
              <a:cs typeface="Arial" pitchFamily="34" charset="0"/>
            </a:endParaRPr>
          </a:p>
        </p:txBody>
      </p:sp>
      <p:sp>
        <p:nvSpPr>
          <p:cNvPr id="21"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621" rtl="0" eaLnBrk="1" latinLnBrk="0" hangingPunct="1">
              <a:lnSpc>
                <a:spcPct val="100000"/>
              </a:lnSpc>
              <a:spcBef>
                <a:spcPct val="0"/>
              </a:spcBef>
              <a:buNone/>
              <a:tabLst>
                <a:tab pos="1218621" algn="l"/>
              </a:tabLst>
              <a:defRPr lang="en-US" sz="3599" kern="1200" cap="none" spc="0" baseline="0" dirty="0">
                <a:solidFill>
                  <a:schemeClr val="tx1"/>
                </a:solidFill>
                <a:latin typeface="Arial" pitchFamily="34" charset="0"/>
                <a:ea typeface="+mn-ea"/>
                <a:cs typeface="Arial" pitchFamily="34" charset="0"/>
              </a:defRPr>
            </a:lvl1pPr>
          </a:lstStyle>
          <a:p>
            <a:r>
              <a:rPr lang="en-US"/>
              <a:t>Click To Edit Master Title</a:t>
            </a:r>
          </a:p>
        </p:txBody>
      </p:sp>
      <p:sp>
        <p:nvSpPr>
          <p:cNvPr id="12" name="Rectangle 11"/>
          <p:cNvSpPr/>
          <p:nvPr userDrawn="1"/>
        </p:nvSpPr>
        <p:spPr bwMode="gray">
          <a:xfrm>
            <a:off x="11751760" y="6395717"/>
            <a:ext cx="443416" cy="322249"/>
          </a:xfrm>
          <a:prstGeom prst="rect">
            <a:avLst/>
          </a:prstGeom>
          <a:no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 name="Slide Number Placeholder 4">
            <a:extLst>
              <a:ext uri="{FF2B5EF4-FFF2-40B4-BE49-F238E27FC236}">
                <a16:creationId xmlns:a16="http://schemas.microsoft.com/office/drawing/2014/main" id="{66F0DA70-242E-35BF-1C65-E29A87F4B231}"/>
              </a:ext>
            </a:extLst>
          </p:cNvPr>
          <p:cNvSpPr>
            <a:spLocks noGrp="1"/>
          </p:cNvSpPr>
          <p:nvPr>
            <p:ph type="sldNum" sz="quarter" idx="11"/>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590326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Slide_Image 2">
    <p:spTree>
      <p:nvGrpSpPr>
        <p:cNvPr id="1" name=""/>
        <p:cNvGrpSpPr/>
        <p:nvPr/>
      </p:nvGrpSpPr>
      <p:grpSpPr>
        <a:xfrm>
          <a:off x="0" y="0"/>
          <a:ext cx="0" cy="0"/>
          <a:chOff x="0" y="0"/>
          <a:chExt cx="0" cy="0"/>
        </a:xfrm>
      </p:grpSpPr>
      <p:sp>
        <p:nvSpPr>
          <p:cNvPr id="14" name="TextBox 13"/>
          <p:cNvSpPr txBox="1"/>
          <p:nvPr userDrawn="1"/>
        </p:nvSpPr>
        <p:spPr>
          <a:xfrm>
            <a:off x="1396579" y="6473953"/>
            <a:ext cx="4115872" cy="153888"/>
          </a:xfrm>
          <a:prstGeom prst="rect">
            <a:avLst/>
          </a:prstGeom>
          <a:noFill/>
        </p:spPr>
        <p:txBody>
          <a:bodyPr wrap="square" lIns="0" tIns="0" rIns="0" bIns="0" rtlCol="0">
            <a:spAutoFit/>
          </a:bodyPr>
          <a:lstStyle/>
          <a:p>
            <a:r>
              <a:rPr lang="en-US" sz="1000">
                <a:solidFill>
                  <a:schemeClr val="bg1"/>
                </a:solidFill>
                <a:latin typeface="Arial" pitchFamily="34" charset="0"/>
                <a:cs typeface="Arial" pitchFamily="34" charset="0"/>
              </a:rPr>
              <a:t>Transform @ Accelerate  |  2019 Lenovo. All rights reserved.</a:t>
            </a:r>
          </a:p>
        </p:txBody>
      </p:sp>
      <p:grpSp>
        <p:nvGrpSpPr>
          <p:cNvPr id="15" name="Group 14"/>
          <p:cNvGrpSpPr/>
          <p:nvPr userDrawn="1"/>
        </p:nvGrpSpPr>
        <p:grpSpPr>
          <a:xfrm>
            <a:off x="554485" y="6421483"/>
            <a:ext cx="734546" cy="245008"/>
            <a:chOff x="547688" y="952500"/>
            <a:chExt cx="12190413" cy="4067175"/>
          </a:xfrm>
        </p:grpSpPr>
        <p:sp>
          <p:nvSpPr>
            <p:cNvPr id="16" name="Rectangle 15"/>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7" name="Freeform 16"/>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8" name="Freeform 17"/>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9" name="Freeform 18"/>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20" name="Freeform 19"/>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21" name="Freeform 10"/>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22" name="Freeform 11"/>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8" y="3"/>
            <a:ext cx="12190662" cy="6857999"/>
          </a:xfrm>
          <a:prstGeom prst="rect">
            <a:avLst/>
          </a:prstGeom>
        </p:spPr>
      </p:pic>
      <p:sp>
        <p:nvSpPr>
          <p:cNvPr id="2" name="Slide Number Placeholder 4">
            <a:extLst>
              <a:ext uri="{FF2B5EF4-FFF2-40B4-BE49-F238E27FC236}">
                <a16:creationId xmlns:a16="http://schemas.microsoft.com/office/drawing/2014/main" id="{550E6178-3D90-1D3B-F9FC-7F5FDC83C5D6}"/>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72980746"/>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extBox 1"/>
          <p:cNvSpPr txBox="1"/>
          <p:nvPr userDrawn="1"/>
        </p:nvSpPr>
        <p:spPr>
          <a:xfrm>
            <a:off x="1397000" y="6473825"/>
            <a:ext cx="4114800" cy="153988"/>
          </a:xfrm>
          <a:prstGeom prst="rect">
            <a:avLst/>
          </a:prstGeom>
          <a:noFill/>
        </p:spPr>
        <p:txBody>
          <a:bodyPr lIns="0" tIns="0" rIns="0" bIns="0">
            <a:spAutoFit/>
          </a:bodyPr>
          <a:lstStyle/>
          <a:p>
            <a:pPr fontAlgn="auto">
              <a:spcBef>
                <a:spcPts val="0"/>
              </a:spcBef>
              <a:spcAft>
                <a:spcPts val="0"/>
              </a:spcAft>
              <a:defRPr/>
            </a:pPr>
            <a:r>
              <a:rPr lang="en-US" sz="1000">
                <a:latin typeface="Arial" pitchFamily="34" charset="0"/>
                <a:cs typeface="Arial" pitchFamily="34" charset="0"/>
              </a:rPr>
              <a:t>2022 Lenovo Internal. All rights reserved.</a:t>
            </a:r>
          </a:p>
        </p:txBody>
      </p:sp>
      <p:grpSp>
        <p:nvGrpSpPr>
          <p:cNvPr id="3" name="Group 4"/>
          <p:cNvGrpSpPr>
            <a:grpSpLocks/>
          </p:cNvGrpSpPr>
          <p:nvPr userDrawn="1"/>
        </p:nvGrpSpPr>
        <p:grpSpPr bwMode="auto">
          <a:xfrm>
            <a:off x="554039" y="6421440"/>
            <a:ext cx="735012" cy="244475"/>
            <a:chOff x="547688" y="952500"/>
            <a:chExt cx="12190413" cy="4067175"/>
          </a:xfrm>
        </p:grpSpPr>
        <p:sp>
          <p:nvSpPr>
            <p:cNvPr id="4" name="Rectangle 5"/>
            <p:cNvSpPr>
              <a:spLocks noChangeArrowheads="1"/>
            </p:cNvSpPr>
            <p:nvPr userDrawn="1"/>
          </p:nvSpPr>
          <p:spPr bwMode="auto">
            <a:xfrm>
              <a:off x="547688" y="952500"/>
              <a:ext cx="12190413" cy="4067175"/>
            </a:xfrm>
            <a:prstGeom prst="rect">
              <a:avLst/>
            </a:prstGeom>
            <a:solidFill>
              <a:schemeClr val="accent1"/>
            </a:solidFill>
            <a:ln>
              <a:noFill/>
            </a:ln>
          </p:spPr>
          <p:txBody>
            <a:bodyPr/>
            <a:lstStyle/>
            <a:p>
              <a:pPr fontAlgn="auto">
                <a:spcBef>
                  <a:spcPts val="0"/>
                </a:spcBef>
                <a:spcAft>
                  <a:spcPts val="0"/>
                </a:spcAft>
                <a:defRPr/>
              </a:pPr>
              <a:endParaRPr lang="en-US" sz="2399">
                <a:latin typeface="+mn-lt"/>
                <a:cs typeface="+mn-cs"/>
              </a:endParaRPr>
            </a:p>
          </p:txBody>
        </p:sp>
        <p:sp>
          <p:nvSpPr>
            <p:cNvPr id="5" name="Freeform 7"/>
            <p:cNvSpPr>
              <a:spLocks/>
            </p:cNvSpPr>
            <p:nvPr userDrawn="1"/>
          </p:nvSpPr>
          <p:spPr bwMode="auto">
            <a:xfrm>
              <a:off x="4918336" y="2325832"/>
              <a:ext cx="1579752" cy="1584614"/>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6" name="Freeform 8"/>
            <p:cNvSpPr>
              <a:spLocks/>
            </p:cNvSpPr>
            <p:nvPr userDrawn="1"/>
          </p:nvSpPr>
          <p:spPr bwMode="auto">
            <a:xfrm>
              <a:off x="8288474" y="2352234"/>
              <a:ext cx="1737727" cy="1558212"/>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7" name="Freeform 9"/>
            <p:cNvSpPr>
              <a:spLocks noEditPoints="1"/>
            </p:cNvSpPr>
            <p:nvPr userDrawn="1"/>
          </p:nvSpPr>
          <p:spPr bwMode="auto">
            <a:xfrm>
              <a:off x="3127950" y="2325832"/>
              <a:ext cx="1632411" cy="1611016"/>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8" name="Freeform 10"/>
            <p:cNvSpPr>
              <a:spLocks/>
            </p:cNvSpPr>
            <p:nvPr userDrawn="1"/>
          </p:nvSpPr>
          <p:spPr bwMode="auto">
            <a:xfrm>
              <a:off x="1679835" y="1876850"/>
              <a:ext cx="1421777" cy="2033596"/>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9" name="Freeform 10"/>
            <p:cNvSpPr>
              <a:spLocks noEditPoints="1"/>
            </p:cNvSpPr>
            <p:nvPr userDrawn="1"/>
          </p:nvSpPr>
          <p:spPr bwMode="auto">
            <a:xfrm>
              <a:off x="9973543" y="2325832"/>
              <a:ext cx="1658732" cy="1611016"/>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10" name="Freeform 11"/>
            <p:cNvSpPr>
              <a:spLocks noEditPoints="1"/>
            </p:cNvSpPr>
            <p:nvPr userDrawn="1"/>
          </p:nvSpPr>
          <p:spPr bwMode="auto">
            <a:xfrm>
              <a:off x="6656063" y="2325832"/>
              <a:ext cx="1685069" cy="1611016"/>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grpSp>
      <p:sp>
        <p:nvSpPr>
          <p:cNvPr id="11" name="Rectangle 1"/>
          <p:cNvSpPr/>
          <p:nvPr userDrawn="1"/>
        </p:nvSpPr>
        <p:spPr>
          <a:xfrm>
            <a:off x="1" y="0"/>
            <a:ext cx="12192000" cy="6858000"/>
          </a:xfrm>
          <a:prstGeom prst="rect">
            <a:avLst/>
          </a:prstGeom>
          <a:solidFill>
            <a:srgbClr val="3F3F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sz="2399"/>
          </a:p>
        </p:txBody>
      </p:sp>
      <p:pic>
        <p:nvPicPr>
          <p:cNvPr id="12" name="Picture 4" descr="A picture containing drawing&#10;&#10;Description automatically generated"/>
          <p:cNvPicPr>
            <a:picLocks noChangeAspect="1"/>
          </p:cNvPicPr>
          <p:nvPr userDrawn="1"/>
        </p:nvPicPr>
        <p:blipFill>
          <a:blip r:embed="rId2"/>
          <a:srcRect/>
          <a:stretch>
            <a:fillRect/>
          </a:stretch>
        </p:blipFill>
        <p:spPr bwMode="auto">
          <a:xfrm>
            <a:off x="11806238" y="4835525"/>
            <a:ext cx="385762" cy="1155700"/>
          </a:xfrm>
          <a:prstGeom prst="rect">
            <a:avLst/>
          </a:prstGeom>
          <a:noFill/>
          <a:ln w="9525">
            <a:noFill/>
            <a:miter lim="800000"/>
            <a:headEnd/>
            <a:tailEnd/>
          </a:ln>
        </p:spPr>
      </p:pic>
      <p:sp>
        <p:nvSpPr>
          <p:cNvPr id="13" name="TextBox 12">
            <a:extLst>
              <a:ext uri="{FF2B5EF4-FFF2-40B4-BE49-F238E27FC236}">
                <a16:creationId xmlns:a16="http://schemas.microsoft.com/office/drawing/2014/main" id="{2FDFA5DC-F959-45B1-8B15-720185DC1562}"/>
              </a:ext>
            </a:extLst>
          </p:cNvPr>
          <p:cNvSpPr txBox="1"/>
          <p:nvPr userDrawn="1"/>
        </p:nvSpPr>
        <p:spPr>
          <a:xfrm>
            <a:off x="1030288" y="6526212"/>
            <a:ext cx="4114800" cy="153988"/>
          </a:xfrm>
          <a:prstGeom prst="rect">
            <a:avLst/>
          </a:prstGeom>
          <a:noFill/>
        </p:spPr>
        <p:txBody>
          <a:bodyPr lIns="0" tIns="0" rIns="0" bIns="0">
            <a:spAutoFit/>
          </a:bodyPr>
          <a:lstStyle/>
          <a:p>
            <a:pPr fontAlgn="auto">
              <a:spcBef>
                <a:spcPts val="0"/>
              </a:spcBef>
              <a:spcAft>
                <a:spcPts val="0"/>
              </a:spcAft>
              <a:defRPr/>
            </a:pPr>
            <a:r>
              <a:rPr lang="en-US" sz="1000">
                <a:solidFill>
                  <a:schemeClr val="bg1"/>
                </a:solidFill>
                <a:latin typeface="Arial" pitchFamily="34" charset="0"/>
                <a:cs typeface="Arial" pitchFamily="34" charset="0"/>
              </a:rPr>
              <a:t>2022 Lenovo Internal. All rights reserved.</a:t>
            </a:r>
          </a:p>
        </p:txBody>
      </p:sp>
      <p:grpSp>
        <p:nvGrpSpPr>
          <p:cNvPr id="14" name="Group 4">
            <a:extLst>
              <a:ext uri="{FF2B5EF4-FFF2-40B4-BE49-F238E27FC236}">
                <a16:creationId xmlns:a16="http://schemas.microsoft.com/office/drawing/2014/main" id="{D5668D43-3777-4F96-9C23-0337487DAF16}"/>
              </a:ext>
            </a:extLst>
          </p:cNvPr>
          <p:cNvGrpSpPr>
            <a:grpSpLocks/>
          </p:cNvGrpSpPr>
          <p:nvPr userDrawn="1"/>
        </p:nvGrpSpPr>
        <p:grpSpPr bwMode="auto">
          <a:xfrm>
            <a:off x="187326" y="6473827"/>
            <a:ext cx="735012" cy="244475"/>
            <a:chOff x="547688" y="952500"/>
            <a:chExt cx="12190413" cy="4067175"/>
          </a:xfrm>
        </p:grpSpPr>
        <p:sp>
          <p:nvSpPr>
            <p:cNvPr id="15" name="Rectangle 5">
              <a:extLst>
                <a:ext uri="{FF2B5EF4-FFF2-40B4-BE49-F238E27FC236}">
                  <a16:creationId xmlns:a16="http://schemas.microsoft.com/office/drawing/2014/main" id="{B26C0BB2-5F8A-4553-BBC9-F42BC3403C49}"/>
                </a:ext>
              </a:extLst>
            </p:cNvPr>
            <p:cNvSpPr>
              <a:spLocks noChangeArrowheads="1"/>
            </p:cNvSpPr>
            <p:nvPr userDrawn="1"/>
          </p:nvSpPr>
          <p:spPr bwMode="auto">
            <a:xfrm>
              <a:off x="547688" y="952500"/>
              <a:ext cx="12190413" cy="4067175"/>
            </a:xfrm>
            <a:prstGeom prst="rect">
              <a:avLst/>
            </a:prstGeom>
            <a:solidFill>
              <a:schemeClr val="accent1"/>
            </a:solidFill>
            <a:ln>
              <a:noFill/>
            </a:ln>
          </p:spPr>
          <p:txBody>
            <a:bodyPr/>
            <a:lstStyle/>
            <a:p>
              <a:pPr fontAlgn="auto">
                <a:spcBef>
                  <a:spcPts val="0"/>
                </a:spcBef>
                <a:spcAft>
                  <a:spcPts val="0"/>
                </a:spcAft>
                <a:defRPr/>
              </a:pPr>
              <a:endParaRPr lang="en-US" sz="2399">
                <a:latin typeface="+mn-lt"/>
                <a:cs typeface="+mn-cs"/>
              </a:endParaRPr>
            </a:p>
          </p:txBody>
        </p:sp>
        <p:sp>
          <p:nvSpPr>
            <p:cNvPr id="16" name="Freeform 7">
              <a:extLst>
                <a:ext uri="{FF2B5EF4-FFF2-40B4-BE49-F238E27FC236}">
                  <a16:creationId xmlns:a16="http://schemas.microsoft.com/office/drawing/2014/main" id="{411766D6-2406-4B1C-B97C-C5783DA86606}"/>
                </a:ext>
              </a:extLst>
            </p:cNvPr>
            <p:cNvSpPr>
              <a:spLocks/>
            </p:cNvSpPr>
            <p:nvPr userDrawn="1"/>
          </p:nvSpPr>
          <p:spPr bwMode="auto">
            <a:xfrm>
              <a:off x="4918336" y="2325832"/>
              <a:ext cx="1579752" cy="1584614"/>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17" name="Freeform 8">
              <a:extLst>
                <a:ext uri="{FF2B5EF4-FFF2-40B4-BE49-F238E27FC236}">
                  <a16:creationId xmlns:a16="http://schemas.microsoft.com/office/drawing/2014/main" id="{4750B1EA-5A7A-4B20-900A-933474C5D230}"/>
                </a:ext>
              </a:extLst>
            </p:cNvPr>
            <p:cNvSpPr>
              <a:spLocks/>
            </p:cNvSpPr>
            <p:nvPr userDrawn="1"/>
          </p:nvSpPr>
          <p:spPr bwMode="auto">
            <a:xfrm>
              <a:off x="8288474" y="2352234"/>
              <a:ext cx="1737727" cy="1558212"/>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18" name="Freeform 9">
              <a:extLst>
                <a:ext uri="{FF2B5EF4-FFF2-40B4-BE49-F238E27FC236}">
                  <a16:creationId xmlns:a16="http://schemas.microsoft.com/office/drawing/2014/main" id="{7DB5B4A1-7217-4679-9947-B592E2AA292D}"/>
                </a:ext>
              </a:extLst>
            </p:cNvPr>
            <p:cNvSpPr>
              <a:spLocks noEditPoints="1"/>
            </p:cNvSpPr>
            <p:nvPr userDrawn="1"/>
          </p:nvSpPr>
          <p:spPr bwMode="auto">
            <a:xfrm>
              <a:off x="3127950" y="2325832"/>
              <a:ext cx="1632411" cy="1611016"/>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19" name="Freeform 10">
              <a:extLst>
                <a:ext uri="{FF2B5EF4-FFF2-40B4-BE49-F238E27FC236}">
                  <a16:creationId xmlns:a16="http://schemas.microsoft.com/office/drawing/2014/main" id="{93E2C50D-AE0D-4ADE-83F6-A4D2B621589C}"/>
                </a:ext>
              </a:extLst>
            </p:cNvPr>
            <p:cNvSpPr>
              <a:spLocks/>
            </p:cNvSpPr>
            <p:nvPr userDrawn="1"/>
          </p:nvSpPr>
          <p:spPr bwMode="auto">
            <a:xfrm>
              <a:off x="1679835" y="1876850"/>
              <a:ext cx="1421777" cy="2033596"/>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20" name="Freeform 10">
              <a:extLst>
                <a:ext uri="{FF2B5EF4-FFF2-40B4-BE49-F238E27FC236}">
                  <a16:creationId xmlns:a16="http://schemas.microsoft.com/office/drawing/2014/main" id="{26AEC61E-D0FE-4E61-A8B0-693B2F1E7060}"/>
                </a:ext>
              </a:extLst>
            </p:cNvPr>
            <p:cNvSpPr>
              <a:spLocks noEditPoints="1"/>
            </p:cNvSpPr>
            <p:nvPr userDrawn="1"/>
          </p:nvSpPr>
          <p:spPr bwMode="auto">
            <a:xfrm>
              <a:off x="9973543" y="2325832"/>
              <a:ext cx="1658732" cy="1611016"/>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21" name="Freeform 11">
              <a:extLst>
                <a:ext uri="{FF2B5EF4-FFF2-40B4-BE49-F238E27FC236}">
                  <a16:creationId xmlns:a16="http://schemas.microsoft.com/office/drawing/2014/main" id="{F897425B-CECE-434A-9FD7-B83841FD63AA}"/>
                </a:ext>
              </a:extLst>
            </p:cNvPr>
            <p:cNvSpPr>
              <a:spLocks noEditPoints="1"/>
            </p:cNvSpPr>
            <p:nvPr userDrawn="1"/>
          </p:nvSpPr>
          <p:spPr bwMode="auto">
            <a:xfrm>
              <a:off x="6656063" y="2325832"/>
              <a:ext cx="1685069" cy="1611016"/>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grpSp>
      <p:sp>
        <p:nvSpPr>
          <p:cNvPr id="22" name="Slide Number Placeholder 4">
            <a:extLst>
              <a:ext uri="{FF2B5EF4-FFF2-40B4-BE49-F238E27FC236}">
                <a16:creationId xmlns:a16="http://schemas.microsoft.com/office/drawing/2014/main" id="{EC7F7BD4-5FDE-A97A-93BA-019234DEA725}"/>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328519773"/>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Only - With Background">
    <p:spTree>
      <p:nvGrpSpPr>
        <p:cNvPr id="1" name=""/>
        <p:cNvGrpSpPr/>
        <p:nvPr/>
      </p:nvGrpSpPr>
      <p:grpSpPr>
        <a:xfrm>
          <a:off x="0" y="0"/>
          <a:ext cx="0" cy="0"/>
          <a:chOff x="0" y="0"/>
          <a:chExt cx="0" cy="0"/>
        </a:xfrm>
      </p:grpSpPr>
      <p:pic>
        <p:nvPicPr>
          <p:cNvPr id="3" name="Picture 13"/>
          <p:cNvPicPr>
            <a:picLocks noChangeAspect="1"/>
          </p:cNvPicPr>
          <p:nvPr userDrawn="1"/>
        </p:nvPicPr>
        <p:blipFill>
          <a:blip r:embed="rId2"/>
          <a:srcRect/>
          <a:stretch>
            <a:fillRect/>
          </a:stretch>
        </p:blipFill>
        <p:spPr bwMode="auto">
          <a:xfrm>
            <a:off x="-4762" y="0"/>
            <a:ext cx="12196763" cy="6858000"/>
          </a:xfrm>
          <a:prstGeom prst="rect">
            <a:avLst/>
          </a:prstGeom>
          <a:noFill/>
          <a:ln w="9525">
            <a:noFill/>
            <a:miter lim="800000"/>
            <a:headEnd/>
            <a:tailEnd/>
          </a:ln>
        </p:spPr>
      </p:pic>
      <p:pic>
        <p:nvPicPr>
          <p:cNvPr id="20" name="Picture 27" descr="A picture containing drawing&#10;&#10;Description automatically generated"/>
          <p:cNvPicPr>
            <a:picLocks noChangeAspect="1"/>
          </p:cNvPicPr>
          <p:nvPr userDrawn="1"/>
        </p:nvPicPr>
        <p:blipFill>
          <a:blip r:embed="rId3"/>
          <a:srcRect/>
          <a:stretch>
            <a:fillRect/>
          </a:stretch>
        </p:blipFill>
        <p:spPr bwMode="auto">
          <a:xfrm>
            <a:off x="11911014" y="4929188"/>
            <a:ext cx="280987" cy="844550"/>
          </a:xfrm>
          <a:prstGeom prst="rect">
            <a:avLst/>
          </a:prstGeom>
          <a:noFill/>
          <a:ln w="9525">
            <a:noFill/>
            <a:miter lim="800000"/>
            <a:headEnd/>
            <a:tailEnd/>
          </a:ln>
        </p:spPr>
      </p:pic>
      <p:sp>
        <p:nvSpPr>
          <p:cNvPr id="9" name="Title 28"/>
          <p:cNvSpPr>
            <a:spLocks noGrp="1"/>
          </p:cNvSpPr>
          <p:nvPr>
            <p:ph type="title"/>
          </p:nvPr>
        </p:nvSpPr>
        <p:spPr bwMode="gray">
          <a:xfrm>
            <a:off x="2150209" y="192870"/>
            <a:ext cx="7744059" cy="521208"/>
          </a:xfrm>
          <a:prstGeom prst="rect">
            <a:avLst/>
          </a:prstGeom>
        </p:spPr>
        <p:txBody>
          <a:bodyPr wrap="square" lIns="0" tIns="0" rIns="0" bIns="0" anchor="ctr" anchorCtr="0"/>
          <a:lstStyle>
            <a:lvl1pPr marL="0" algn="ctr" defTabSz="1217525" rtl="0" eaLnBrk="1" latinLnBrk="0" hangingPunct="1">
              <a:lnSpc>
                <a:spcPct val="100000"/>
              </a:lnSpc>
              <a:spcBef>
                <a:spcPct val="0"/>
              </a:spcBef>
              <a:buNone/>
              <a:tabLst>
                <a:tab pos="1217525" algn="l"/>
              </a:tabLst>
              <a:defRPr lang="en-US" sz="2798" b="0" kern="1200" cap="none" spc="0" baseline="0" dirty="0">
                <a:solidFill>
                  <a:schemeClr val="tx1"/>
                </a:solidFill>
                <a:latin typeface="Calibri" panose="020F0502020204030204" pitchFamily="34" charset="0"/>
                <a:ea typeface="+mn-ea"/>
                <a:cs typeface="Arial" pitchFamily="34" charset="0"/>
              </a:defRPr>
            </a:lvl1pPr>
          </a:lstStyle>
          <a:p>
            <a:r>
              <a:rPr lang="fr-FR"/>
              <a:t>Cliquez pour modifier le style du titre</a:t>
            </a:r>
            <a:endParaRPr lang="en-US"/>
          </a:p>
        </p:txBody>
      </p:sp>
      <p:sp>
        <p:nvSpPr>
          <p:cNvPr id="21" name="TextBox 20">
            <a:extLst>
              <a:ext uri="{FF2B5EF4-FFF2-40B4-BE49-F238E27FC236}">
                <a16:creationId xmlns:a16="http://schemas.microsoft.com/office/drawing/2014/main" id="{C087FF0D-1F1D-4443-B9AA-150C053AD0D9}"/>
              </a:ext>
            </a:extLst>
          </p:cNvPr>
          <p:cNvSpPr txBox="1"/>
          <p:nvPr userDrawn="1"/>
        </p:nvSpPr>
        <p:spPr>
          <a:xfrm>
            <a:off x="1030288" y="6526212"/>
            <a:ext cx="4114800" cy="153988"/>
          </a:xfrm>
          <a:prstGeom prst="rect">
            <a:avLst/>
          </a:prstGeom>
          <a:noFill/>
        </p:spPr>
        <p:txBody>
          <a:bodyPr lIns="0" tIns="0" rIns="0" bIns="0">
            <a:spAutoFit/>
          </a:bodyPr>
          <a:lstStyle/>
          <a:p>
            <a:pPr fontAlgn="auto">
              <a:spcBef>
                <a:spcPts val="0"/>
              </a:spcBef>
              <a:spcAft>
                <a:spcPts val="0"/>
              </a:spcAft>
              <a:defRPr/>
            </a:pPr>
            <a:r>
              <a:rPr lang="en-US" sz="1000">
                <a:solidFill>
                  <a:schemeClr val="bg1"/>
                </a:solidFill>
                <a:latin typeface="Arial" pitchFamily="34" charset="0"/>
                <a:cs typeface="Arial" pitchFamily="34" charset="0"/>
              </a:rPr>
              <a:t>2022 Lenovo Internal. All rights reserved.</a:t>
            </a:r>
          </a:p>
        </p:txBody>
      </p:sp>
      <p:grpSp>
        <p:nvGrpSpPr>
          <p:cNvPr id="22" name="Group 4">
            <a:extLst>
              <a:ext uri="{FF2B5EF4-FFF2-40B4-BE49-F238E27FC236}">
                <a16:creationId xmlns:a16="http://schemas.microsoft.com/office/drawing/2014/main" id="{C553F79C-5BD9-4C1F-BD69-F6121EAE6885}"/>
              </a:ext>
            </a:extLst>
          </p:cNvPr>
          <p:cNvGrpSpPr>
            <a:grpSpLocks/>
          </p:cNvGrpSpPr>
          <p:nvPr userDrawn="1"/>
        </p:nvGrpSpPr>
        <p:grpSpPr bwMode="auto">
          <a:xfrm>
            <a:off x="187326" y="6473827"/>
            <a:ext cx="735012" cy="244475"/>
            <a:chOff x="547688" y="952500"/>
            <a:chExt cx="12190413" cy="4067175"/>
          </a:xfrm>
        </p:grpSpPr>
        <p:sp>
          <p:nvSpPr>
            <p:cNvPr id="23" name="Rectangle 5">
              <a:extLst>
                <a:ext uri="{FF2B5EF4-FFF2-40B4-BE49-F238E27FC236}">
                  <a16:creationId xmlns:a16="http://schemas.microsoft.com/office/drawing/2014/main" id="{D71B01F5-85F5-45B7-B726-D5B308EE50C6}"/>
                </a:ext>
              </a:extLst>
            </p:cNvPr>
            <p:cNvSpPr>
              <a:spLocks noChangeArrowheads="1"/>
            </p:cNvSpPr>
            <p:nvPr userDrawn="1"/>
          </p:nvSpPr>
          <p:spPr bwMode="auto">
            <a:xfrm>
              <a:off x="547688" y="952500"/>
              <a:ext cx="12190413" cy="4067175"/>
            </a:xfrm>
            <a:prstGeom prst="rect">
              <a:avLst/>
            </a:prstGeom>
            <a:solidFill>
              <a:schemeClr val="accent1"/>
            </a:solidFill>
            <a:ln>
              <a:noFill/>
            </a:ln>
          </p:spPr>
          <p:txBody>
            <a:bodyPr/>
            <a:lstStyle/>
            <a:p>
              <a:pPr fontAlgn="auto">
                <a:spcBef>
                  <a:spcPts val="0"/>
                </a:spcBef>
                <a:spcAft>
                  <a:spcPts val="0"/>
                </a:spcAft>
                <a:defRPr/>
              </a:pPr>
              <a:endParaRPr lang="en-US" sz="2399">
                <a:latin typeface="+mn-lt"/>
                <a:cs typeface="+mn-cs"/>
              </a:endParaRPr>
            </a:p>
          </p:txBody>
        </p:sp>
        <p:sp>
          <p:nvSpPr>
            <p:cNvPr id="24" name="Freeform 7">
              <a:extLst>
                <a:ext uri="{FF2B5EF4-FFF2-40B4-BE49-F238E27FC236}">
                  <a16:creationId xmlns:a16="http://schemas.microsoft.com/office/drawing/2014/main" id="{C6260388-34EB-4B17-B300-5D68137C9091}"/>
                </a:ext>
              </a:extLst>
            </p:cNvPr>
            <p:cNvSpPr>
              <a:spLocks/>
            </p:cNvSpPr>
            <p:nvPr userDrawn="1"/>
          </p:nvSpPr>
          <p:spPr bwMode="auto">
            <a:xfrm>
              <a:off x="4918336" y="2325832"/>
              <a:ext cx="1579752" cy="1584614"/>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25" name="Freeform 8">
              <a:extLst>
                <a:ext uri="{FF2B5EF4-FFF2-40B4-BE49-F238E27FC236}">
                  <a16:creationId xmlns:a16="http://schemas.microsoft.com/office/drawing/2014/main" id="{1358FBB5-E082-4466-A330-E5C3EEFF788B}"/>
                </a:ext>
              </a:extLst>
            </p:cNvPr>
            <p:cNvSpPr>
              <a:spLocks/>
            </p:cNvSpPr>
            <p:nvPr userDrawn="1"/>
          </p:nvSpPr>
          <p:spPr bwMode="auto">
            <a:xfrm>
              <a:off x="8288474" y="2352234"/>
              <a:ext cx="1737727" cy="1558212"/>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26" name="Freeform 9">
              <a:extLst>
                <a:ext uri="{FF2B5EF4-FFF2-40B4-BE49-F238E27FC236}">
                  <a16:creationId xmlns:a16="http://schemas.microsoft.com/office/drawing/2014/main" id="{1D8BCE50-43C8-4273-A587-BA98FF7D7941}"/>
                </a:ext>
              </a:extLst>
            </p:cNvPr>
            <p:cNvSpPr>
              <a:spLocks noEditPoints="1"/>
            </p:cNvSpPr>
            <p:nvPr userDrawn="1"/>
          </p:nvSpPr>
          <p:spPr bwMode="auto">
            <a:xfrm>
              <a:off x="3127950" y="2325832"/>
              <a:ext cx="1632411" cy="1611016"/>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27" name="Freeform 10">
              <a:extLst>
                <a:ext uri="{FF2B5EF4-FFF2-40B4-BE49-F238E27FC236}">
                  <a16:creationId xmlns:a16="http://schemas.microsoft.com/office/drawing/2014/main" id="{9888B830-2EF5-417C-AB88-E23E3970AD43}"/>
                </a:ext>
              </a:extLst>
            </p:cNvPr>
            <p:cNvSpPr>
              <a:spLocks/>
            </p:cNvSpPr>
            <p:nvPr userDrawn="1"/>
          </p:nvSpPr>
          <p:spPr bwMode="auto">
            <a:xfrm>
              <a:off x="1679835" y="1876850"/>
              <a:ext cx="1421777" cy="2033596"/>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28" name="Freeform 10">
              <a:extLst>
                <a:ext uri="{FF2B5EF4-FFF2-40B4-BE49-F238E27FC236}">
                  <a16:creationId xmlns:a16="http://schemas.microsoft.com/office/drawing/2014/main" id="{CDCA472C-814E-4517-9CF1-FC69B0D484B9}"/>
                </a:ext>
              </a:extLst>
            </p:cNvPr>
            <p:cNvSpPr>
              <a:spLocks noEditPoints="1"/>
            </p:cNvSpPr>
            <p:nvPr userDrawn="1"/>
          </p:nvSpPr>
          <p:spPr bwMode="auto">
            <a:xfrm>
              <a:off x="9973543" y="2325832"/>
              <a:ext cx="1658732" cy="1611016"/>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sp>
          <p:nvSpPr>
            <p:cNvPr id="29" name="Freeform 11">
              <a:extLst>
                <a:ext uri="{FF2B5EF4-FFF2-40B4-BE49-F238E27FC236}">
                  <a16:creationId xmlns:a16="http://schemas.microsoft.com/office/drawing/2014/main" id="{E43F54FB-5F30-4911-8788-2873DF1F2EAF}"/>
                </a:ext>
              </a:extLst>
            </p:cNvPr>
            <p:cNvSpPr>
              <a:spLocks noEditPoints="1"/>
            </p:cNvSpPr>
            <p:nvPr userDrawn="1"/>
          </p:nvSpPr>
          <p:spPr bwMode="auto">
            <a:xfrm>
              <a:off x="6656063" y="2325832"/>
              <a:ext cx="1685069" cy="1611016"/>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p:spPr>
          <p:txBody>
            <a:bodyPr/>
            <a:lstStyle/>
            <a:p>
              <a:pPr fontAlgn="auto">
                <a:spcBef>
                  <a:spcPts val="0"/>
                </a:spcBef>
                <a:spcAft>
                  <a:spcPts val="0"/>
                </a:spcAft>
                <a:defRPr/>
              </a:pPr>
              <a:endParaRPr lang="en-US" sz="2399">
                <a:latin typeface="+mn-lt"/>
                <a:cs typeface="+mn-cs"/>
              </a:endParaRPr>
            </a:p>
          </p:txBody>
        </p:sp>
      </p:grpSp>
      <p:sp>
        <p:nvSpPr>
          <p:cNvPr id="2" name="Slide Number Placeholder 4">
            <a:extLst>
              <a:ext uri="{FF2B5EF4-FFF2-40B4-BE49-F238E27FC236}">
                <a16:creationId xmlns:a16="http://schemas.microsoft.com/office/drawing/2014/main" id="{48BAE0F5-957A-09A5-4ACC-EE39E558CF23}"/>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58216795"/>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Section Header_BI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8" y="718"/>
            <a:ext cx="12191333" cy="6856571"/>
          </a:xfrm>
          <a:prstGeom prst="rect">
            <a:avLst/>
          </a:prstGeom>
        </p:spPr>
      </p:pic>
      <p:sp>
        <p:nvSpPr>
          <p:cNvPr id="46" name="Title 16"/>
          <p:cNvSpPr>
            <a:spLocks noGrp="1"/>
          </p:cNvSpPr>
          <p:nvPr>
            <p:ph type="title" hasCustomPrompt="1"/>
          </p:nvPr>
        </p:nvSpPr>
        <p:spPr bwMode="gray">
          <a:xfrm>
            <a:off x="548782" y="1391548"/>
            <a:ext cx="9960410" cy="2405203"/>
          </a:xfrm>
          <a:prstGeom prst="rect">
            <a:avLst/>
          </a:prstGeom>
        </p:spPr>
        <p:txBody>
          <a:bodyPr lIns="0" tIns="0" rIns="0" bIns="0" anchor="b" anchorCtr="0"/>
          <a:lstStyle>
            <a:lvl1pPr marL="0" algn="l" defTabSz="1218255" rtl="0" eaLnBrk="1" latinLnBrk="0" hangingPunct="1">
              <a:lnSpc>
                <a:spcPts val="4998"/>
              </a:lnSpc>
              <a:spcBef>
                <a:spcPct val="0"/>
              </a:spcBef>
              <a:buNone/>
              <a:defRPr lang="en-US" sz="5996" b="1" kern="1200" cap="none" spc="-150" baseline="0" dirty="0">
                <a:solidFill>
                  <a:schemeClr val="bg1"/>
                </a:solidFill>
                <a:latin typeface="Arial" pitchFamily="34" charset="0"/>
                <a:ea typeface="+mn-ea"/>
                <a:cs typeface="Arial" pitchFamily="34" charset="0"/>
              </a:defRPr>
            </a:lvl1pPr>
          </a:lstStyle>
          <a:p>
            <a:r>
              <a:rPr lang="en-US"/>
              <a:t>Section Header</a:t>
            </a:r>
          </a:p>
        </p:txBody>
      </p:sp>
      <p:sp>
        <p:nvSpPr>
          <p:cNvPr id="11" name="Text Placeholder 2"/>
          <p:cNvSpPr>
            <a:spLocks noGrp="1"/>
          </p:cNvSpPr>
          <p:nvPr>
            <p:ph type="body" idx="1" hasCustomPrompt="1"/>
          </p:nvPr>
        </p:nvSpPr>
        <p:spPr bwMode="white">
          <a:xfrm>
            <a:off x="548783" y="3999750"/>
            <a:ext cx="9960410" cy="462018"/>
          </a:xfrm>
          <a:prstGeom prst="rect">
            <a:avLst/>
          </a:prstGeom>
        </p:spPr>
        <p:txBody>
          <a:bodyPr lIns="0" tIns="0" rIns="0" bIns="0"/>
          <a:lstStyle>
            <a:lvl1pPr marL="0" indent="0">
              <a:lnSpc>
                <a:spcPts val="2398"/>
              </a:lnSpc>
              <a:spcBef>
                <a:spcPts val="0"/>
              </a:spcBef>
              <a:buNone/>
              <a:defRPr sz="2498" spc="0" baseline="0">
                <a:solidFill>
                  <a:schemeClr val="bg1"/>
                </a:solidFill>
              </a:defRPr>
            </a:lvl1pPr>
            <a:lvl2pPr marL="456926" indent="0">
              <a:buNone/>
              <a:defRPr sz="1998">
                <a:solidFill>
                  <a:schemeClr val="tx1">
                    <a:tint val="75000"/>
                  </a:schemeClr>
                </a:solidFill>
              </a:defRPr>
            </a:lvl2pPr>
            <a:lvl3pPr marL="913852" indent="0">
              <a:buNone/>
              <a:defRPr sz="1798">
                <a:solidFill>
                  <a:schemeClr val="tx1">
                    <a:tint val="75000"/>
                  </a:schemeClr>
                </a:solidFill>
              </a:defRPr>
            </a:lvl3pPr>
            <a:lvl4pPr marL="1370778" indent="0">
              <a:buNone/>
              <a:defRPr sz="1600">
                <a:solidFill>
                  <a:schemeClr val="tx1">
                    <a:tint val="75000"/>
                  </a:schemeClr>
                </a:solidFill>
              </a:defRPr>
            </a:lvl4pPr>
            <a:lvl5pPr marL="1827703" indent="0">
              <a:buNone/>
              <a:defRPr sz="1600">
                <a:solidFill>
                  <a:schemeClr val="tx1">
                    <a:tint val="75000"/>
                  </a:schemeClr>
                </a:solidFill>
              </a:defRPr>
            </a:lvl5pPr>
            <a:lvl6pPr marL="2284628" indent="0">
              <a:buNone/>
              <a:defRPr sz="1600">
                <a:solidFill>
                  <a:schemeClr val="tx1">
                    <a:tint val="75000"/>
                  </a:schemeClr>
                </a:solidFill>
              </a:defRPr>
            </a:lvl6pPr>
            <a:lvl7pPr marL="2741554" indent="0">
              <a:buNone/>
              <a:defRPr sz="1600">
                <a:solidFill>
                  <a:schemeClr val="tx1">
                    <a:tint val="75000"/>
                  </a:schemeClr>
                </a:solidFill>
              </a:defRPr>
            </a:lvl7pPr>
            <a:lvl8pPr marL="3198480" indent="0">
              <a:buNone/>
              <a:defRPr sz="1600">
                <a:solidFill>
                  <a:schemeClr val="tx1">
                    <a:tint val="75000"/>
                  </a:schemeClr>
                </a:solidFill>
              </a:defRPr>
            </a:lvl8pPr>
            <a:lvl9pPr marL="3655406" indent="0">
              <a:buNone/>
              <a:defRPr sz="1600">
                <a:solidFill>
                  <a:schemeClr val="tx1">
                    <a:tint val="75000"/>
                  </a:schemeClr>
                </a:solidFill>
              </a:defRPr>
            </a:lvl9pPr>
          </a:lstStyle>
          <a:p>
            <a:pPr lvl="0"/>
            <a:r>
              <a:rPr lang="en-US"/>
              <a:t>Subhead here</a:t>
            </a:r>
          </a:p>
        </p:txBody>
      </p:sp>
      <p:sp>
        <p:nvSpPr>
          <p:cNvPr id="2" name="Slide Number Placeholder 4">
            <a:extLst>
              <a:ext uri="{FF2B5EF4-FFF2-40B4-BE49-F238E27FC236}">
                <a16:creationId xmlns:a16="http://schemas.microsoft.com/office/drawing/2014/main" id="{BC02CCA5-43B0-6354-C3C8-529F1451EE45}"/>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732047561"/>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 With Background">
    <p:spTree>
      <p:nvGrpSpPr>
        <p:cNvPr id="1" name=""/>
        <p:cNvGrpSpPr/>
        <p:nvPr/>
      </p:nvGrpSpPr>
      <p:grpSpPr>
        <a:xfrm>
          <a:off x="0" y="0"/>
          <a:ext cx="0" cy="0"/>
          <a:chOff x="0" y="0"/>
          <a:chExt cx="0" cy="0"/>
        </a:xfrm>
      </p:grpSpPr>
      <p:sp>
        <p:nvSpPr>
          <p:cNvPr id="15" name="Footer Placeholder 14"/>
          <p:cNvSpPr>
            <a:spLocks noGrp="1"/>
          </p:cNvSpPr>
          <p:nvPr>
            <p:ph type="ftr" sz="quarter" idx="10"/>
          </p:nvPr>
        </p:nvSpPr>
        <p:spPr/>
        <p:txBody>
          <a:bodyPr/>
          <a:lstStyle/>
          <a:p>
            <a:endParaRPr lang="en-US" sz="1000">
              <a:solidFill>
                <a:srgbClr val="939598"/>
              </a:solidFill>
              <a:cs typeface="Arial" pitchFamily="34" charset="0"/>
            </a:endParaRPr>
          </a:p>
        </p:txBody>
      </p:sp>
      <p:sp>
        <p:nvSpPr>
          <p:cNvPr id="10"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621" rtl="0" eaLnBrk="1" latinLnBrk="0" hangingPunct="1">
              <a:lnSpc>
                <a:spcPct val="100000"/>
              </a:lnSpc>
              <a:spcBef>
                <a:spcPct val="0"/>
              </a:spcBef>
              <a:buNone/>
              <a:tabLst>
                <a:tab pos="1218621" algn="l"/>
              </a:tabLst>
              <a:defRPr lang="en-US" sz="3599" kern="1200" cap="none" spc="0" baseline="0" dirty="0">
                <a:solidFill>
                  <a:schemeClr val="tx1"/>
                </a:solidFill>
                <a:latin typeface="Arial" pitchFamily="34" charset="0"/>
                <a:ea typeface="+mn-ea"/>
                <a:cs typeface="Arial" pitchFamily="34" charset="0"/>
              </a:defRPr>
            </a:lvl1pPr>
          </a:lstStyle>
          <a:p>
            <a:r>
              <a:rPr lang="en-US"/>
              <a:t>Click To Edit Master Title</a:t>
            </a:r>
          </a:p>
        </p:txBody>
      </p:sp>
      <p:sp>
        <p:nvSpPr>
          <p:cNvPr id="12"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1799"/>
          </a:p>
        </p:txBody>
      </p:sp>
      <p:sp>
        <p:nvSpPr>
          <p:cNvPr id="16" name="Content Placeholder 2"/>
          <p:cNvSpPr>
            <a:spLocks noGrp="1"/>
          </p:cNvSpPr>
          <p:nvPr>
            <p:ph sz="half" idx="1"/>
          </p:nvPr>
        </p:nvSpPr>
        <p:spPr bwMode="gray">
          <a:xfrm>
            <a:off x="548783" y="1179577"/>
            <a:ext cx="11076268" cy="5211699"/>
          </a:xfrm>
          <a:prstGeom prst="rect">
            <a:avLst/>
          </a:prstGeom>
        </p:spPr>
        <p:txBody>
          <a:bodyPr lIns="0" tIns="0" rIns="0" bIns="0"/>
          <a:lstStyle>
            <a:lvl1pPr marL="171399" indent="-171399">
              <a:lnSpc>
                <a:spcPct val="90000"/>
              </a:lnSpc>
              <a:spcBef>
                <a:spcPts val="500"/>
              </a:spcBef>
              <a:buClrTx/>
              <a:buFont typeface="Arial" panose="020B0604020202020204" pitchFamily="34" charset="0"/>
              <a:buChar char="•"/>
              <a:defRPr sz="2399">
                <a:solidFill>
                  <a:schemeClr val="tx1"/>
                </a:solidFill>
                <a:latin typeface="Arial" pitchFamily="34" charset="0"/>
                <a:cs typeface="Arial" pitchFamily="34" charset="0"/>
              </a:defRPr>
            </a:lvl1pPr>
            <a:lvl2pPr marL="609310" indent="-228491">
              <a:lnSpc>
                <a:spcPct val="90000"/>
              </a:lnSpc>
              <a:spcBef>
                <a:spcPts val="500"/>
              </a:spcBef>
              <a:buClrTx/>
              <a:buFont typeface="Arial" pitchFamily="34" charset="0"/>
              <a:buChar char="–"/>
              <a:defRPr sz="1999">
                <a:solidFill>
                  <a:schemeClr val="tx1"/>
                </a:solidFill>
                <a:latin typeface="Arial" pitchFamily="34" charset="0"/>
                <a:cs typeface="Arial" pitchFamily="34" charset="0"/>
              </a:defRPr>
            </a:lvl2pPr>
            <a:lvl3pPr marL="835687" indent="-150213">
              <a:lnSpc>
                <a:spcPct val="90000"/>
              </a:lnSpc>
              <a:spcBef>
                <a:spcPts val="500"/>
              </a:spcBef>
              <a:buClrTx/>
              <a:buFont typeface="Arial" panose="020B0604020202020204" pitchFamily="34" charset="0"/>
              <a:buChar char="-"/>
              <a:defRPr sz="1999">
                <a:solidFill>
                  <a:schemeClr val="tx1"/>
                </a:solidFill>
                <a:latin typeface="Arial" pitchFamily="34" charset="0"/>
                <a:cs typeface="Arial" pitchFamily="34" charset="0"/>
              </a:defRPr>
            </a:lvl3pPr>
            <a:lvl4pPr marL="1146689" indent="-156559">
              <a:lnSpc>
                <a:spcPct val="90000"/>
              </a:lnSpc>
              <a:spcBef>
                <a:spcPts val="500"/>
              </a:spcBef>
              <a:buClrTx/>
              <a:buFont typeface="Arial" panose="020B0604020202020204" pitchFamily="34" charset="0"/>
              <a:buChar char="-"/>
              <a:defRPr sz="1999">
                <a:solidFill>
                  <a:schemeClr val="tx1"/>
                </a:solidFill>
                <a:latin typeface="Arial" pitchFamily="34" charset="0"/>
                <a:cs typeface="Arial" pitchFamily="34" charset="0"/>
              </a:defRPr>
            </a:lvl4pPr>
            <a:lvl5pPr marL="1444997" indent="-150213">
              <a:lnSpc>
                <a:spcPct val="90000"/>
              </a:lnSpc>
              <a:spcBef>
                <a:spcPts val="500"/>
              </a:spcBef>
              <a:buClrTx/>
              <a:buFont typeface="Arial" panose="020B0604020202020204" pitchFamily="34" charset="0"/>
              <a:buChar char="-"/>
              <a:defRPr sz="1999">
                <a:solidFill>
                  <a:schemeClr val="tx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4">
            <a:extLst>
              <a:ext uri="{FF2B5EF4-FFF2-40B4-BE49-F238E27FC236}">
                <a16:creationId xmlns:a16="http://schemas.microsoft.com/office/drawing/2014/main" id="{442953DE-53E8-55E4-C681-10464DBA3DC3}"/>
              </a:ext>
            </a:extLst>
          </p:cNvPr>
          <p:cNvSpPr>
            <a:spLocks noGrp="1"/>
          </p:cNvSpPr>
          <p:nvPr>
            <p:ph type="sldNum" sz="quarter" idx="11"/>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213301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with Subtitle Only_Black">
    <p:bg>
      <p:bgPr>
        <a:solidFill>
          <a:srgbClr val="1E0013"/>
        </a:solidFill>
        <a:effectLst/>
      </p:bgPr>
    </p:bg>
    <p:spTree>
      <p:nvGrpSpPr>
        <p:cNvPr id="1" name=""/>
        <p:cNvGrpSpPr/>
        <p:nvPr/>
      </p:nvGrpSpPr>
      <p:grpSpPr>
        <a:xfrm>
          <a:off x="0" y="0"/>
          <a:ext cx="0" cy="0"/>
          <a:chOff x="0" y="0"/>
          <a:chExt cx="0" cy="0"/>
        </a:xfrm>
      </p:grpSpPr>
      <p:sp>
        <p:nvSpPr>
          <p:cNvPr id="23" name="Text Placeholder 2"/>
          <p:cNvSpPr>
            <a:spLocks noGrp="1"/>
          </p:cNvSpPr>
          <p:nvPr>
            <p:ph type="body" idx="10" hasCustomPrompt="1"/>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bg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BC296FD5-38BC-1E97-5513-17F333DF59B9}"/>
              </a:ext>
            </a:extLst>
          </p:cNvPr>
          <p:cNvSpPr>
            <a:spLocks noGrp="1"/>
          </p:cNvSpPr>
          <p:nvPr>
            <p:ph type="sldNum" sz="quarter" idx="11"/>
          </p:nvPr>
        </p:nvSpPr>
        <p:spPr/>
        <p:txBody>
          <a:bodyPr/>
          <a:lstStyle>
            <a:lvl1pPr>
              <a:defRPr>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2003894980"/>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Slate with Header">
  <p:cSld name="Slate with Header">
    <p:spTree>
      <p:nvGrpSpPr>
        <p:cNvPr id="1" name="Shape 68"/>
        <p:cNvGrpSpPr/>
        <p:nvPr/>
      </p:nvGrpSpPr>
      <p:grpSpPr>
        <a:xfrm>
          <a:off x="0" y="0"/>
          <a:ext cx="0" cy="0"/>
          <a:chOff x="0" y="0"/>
          <a:chExt cx="0" cy="0"/>
        </a:xfrm>
      </p:grpSpPr>
      <p:sp>
        <p:nvSpPr>
          <p:cNvPr id="69" name="Google Shape;69;p17"/>
          <p:cNvSpPr txBox="1">
            <a:spLocks noGrp="1"/>
          </p:cNvSpPr>
          <p:nvPr>
            <p:ph type="title"/>
          </p:nvPr>
        </p:nvSpPr>
        <p:spPr>
          <a:xfrm>
            <a:off x="912303" y="836090"/>
            <a:ext cx="5183717" cy="865717"/>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rgbClr val="FFFFFF"/>
              </a:buClr>
              <a:buSzPts val="5600"/>
              <a:buFont typeface="Poppins"/>
              <a:buNone/>
              <a:defRPr sz="3731">
                <a:solidFill>
                  <a:srgbClr val="FFFFFF"/>
                </a:solidFill>
              </a:defRPr>
            </a:lvl1pPr>
            <a:lvl2pPr lvl="1" algn="l">
              <a:lnSpc>
                <a:spcPct val="100000"/>
              </a:lnSpc>
              <a:spcBef>
                <a:spcPts val="0"/>
              </a:spcBef>
              <a:spcAft>
                <a:spcPts val="0"/>
              </a:spcAft>
              <a:buClr>
                <a:schemeClr val="accent1"/>
              </a:buClr>
              <a:buSzPts val="1400"/>
              <a:buNone/>
              <a:defRPr sz="1466"/>
            </a:lvl2pPr>
            <a:lvl3pPr lvl="2" algn="l">
              <a:lnSpc>
                <a:spcPct val="100000"/>
              </a:lnSpc>
              <a:spcBef>
                <a:spcPts val="0"/>
              </a:spcBef>
              <a:spcAft>
                <a:spcPts val="0"/>
              </a:spcAft>
              <a:buClr>
                <a:schemeClr val="accent1"/>
              </a:buClr>
              <a:buSzPts val="1400"/>
              <a:buNone/>
              <a:defRPr sz="1466"/>
            </a:lvl3pPr>
            <a:lvl4pPr lvl="3" algn="l">
              <a:lnSpc>
                <a:spcPct val="100000"/>
              </a:lnSpc>
              <a:spcBef>
                <a:spcPts val="0"/>
              </a:spcBef>
              <a:spcAft>
                <a:spcPts val="0"/>
              </a:spcAft>
              <a:buClr>
                <a:schemeClr val="accent1"/>
              </a:buClr>
              <a:buSzPts val="1400"/>
              <a:buNone/>
              <a:defRPr sz="1466"/>
            </a:lvl4pPr>
            <a:lvl5pPr lvl="4" algn="l">
              <a:lnSpc>
                <a:spcPct val="100000"/>
              </a:lnSpc>
              <a:spcBef>
                <a:spcPts val="0"/>
              </a:spcBef>
              <a:spcAft>
                <a:spcPts val="0"/>
              </a:spcAft>
              <a:buClr>
                <a:schemeClr val="accent1"/>
              </a:buClr>
              <a:buSzPts val="1400"/>
              <a:buNone/>
              <a:defRPr sz="1466"/>
            </a:lvl5pPr>
            <a:lvl6pPr lvl="5" algn="l">
              <a:lnSpc>
                <a:spcPct val="100000"/>
              </a:lnSpc>
              <a:spcBef>
                <a:spcPts val="0"/>
              </a:spcBef>
              <a:spcAft>
                <a:spcPts val="0"/>
              </a:spcAft>
              <a:buClr>
                <a:schemeClr val="accent1"/>
              </a:buClr>
              <a:buSzPts val="1400"/>
              <a:buNone/>
              <a:defRPr sz="1466"/>
            </a:lvl6pPr>
            <a:lvl7pPr lvl="6" algn="l">
              <a:lnSpc>
                <a:spcPct val="100000"/>
              </a:lnSpc>
              <a:spcBef>
                <a:spcPts val="0"/>
              </a:spcBef>
              <a:spcAft>
                <a:spcPts val="0"/>
              </a:spcAft>
              <a:buClr>
                <a:schemeClr val="accent1"/>
              </a:buClr>
              <a:buSzPts val="1400"/>
              <a:buNone/>
              <a:defRPr sz="1466"/>
            </a:lvl7pPr>
            <a:lvl8pPr lvl="7" algn="l">
              <a:lnSpc>
                <a:spcPct val="100000"/>
              </a:lnSpc>
              <a:spcBef>
                <a:spcPts val="0"/>
              </a:spcBef>
              <a:spcAft>
                <a:spcPts val="0"/>
              </a:spcAft>
              <a:buClr>
                <a:schemeClr val="accent1"/>
              </a:buClr>
              <a:buSzPts val="1400"/>
              <a:buNone/>
              <a:defRPr sz="1466"/>
            </a:lvl8pPr>
            <a:lvl9pPr lvl="8" algn="l">
              <a:lnSpc>
                <a:spcPct val="100000"/>
              </a:lnSpc>
              <a:spcBef>
                <a:spcPts val="0"/>
              </a:spcBef>
              <a:spcAft>
                <a:spcPts val="0"/>
              </a:spcAft>
              <a:buClr>
                <a:schemeClr val="accent1"/>
              </a:buClr>
              <a:buSzPts val="1400"/>
              <a:buNone/>
              <a:defRPr sz="1466"/>
            </a:lvl9pPr>
          </a:lstStyle>
          <a:p>
            <a:endParaRPr/>
          </a:p>
        </p:txBody>
      </p:sp>
      <p:sp>
        <p:nvSpPr>
          <p:cNvPr id="2" name="Slide Number Placeholder 4">
            <a:extLst>
              <a:ext uri="{FF2B5EF4-FFF2-40B4-BE49-F238E27FC236}">
                <a16:creationId xmlns:a16="http://schemas.microsoft.com/office/drawing/2014/main" id="{4D92C8C4-D842-EE5B-5B9D-EBAC2FB4F3DC}"/>
              </a:ext>
            </a:extLst>
          </p:cNvPr>
          <p:cNvSpPr txBox="1">
            <a:spLocks/>
          </p:cNvSpPr>
          <p:nvPr userDrawn="1"/>
        </p:nvSpPr>
        <p:spPr>
          <a:xfrm>
            <a:off x="11672569" y="6400800"/>
            <a:ext cx="439026" cy="15544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22F896-40B5-4ADD-8801-0D06FADFA095}" type="slidenum">
              <a:rPr lang="en-US" smtClean="0"/>
              <a:pPr/>
              <a:t>‹#›</a:t>
            </a:fld>
            <a:endParaRPr lang="en-US"/>
          </a:p>
        </p:txBody>
      </p:sp>
    </p:spTree>
    <p:extLst>
      <p:ext uri="{BB962C8B-B14F-4D97-AF65-F5344CB8AC3E}">
        <p14:creationId xmlns:p14="http://schemas.microsoft.com/office/powerpoint/2010/main" val="7374878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with Subtitle Content - No Background">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548783" y="1591056"/>
            <a:ext cx="11076268" cy="4798202"/>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idx="10"/>
          </p:nvPr>
        </p:nvSpPr>
        <p:spPr bwMode="gray">
          <a:xfrm>
            <a:off x="557930" y="914400"/>
            <a:ext cx="11076268" cy="292608"/>
          </a:xfrm>
          <a:prstGeom prst="rect">
            <a:avLst/>
          </a:prstGeom>
        </p:spPr>
        <p:txBody>
          <a:bodyPr lIns="0" tIns="0" rIns="0" bIns="0" anchor="ctr" anchorCtr="0">
            <a:normAutofit/>
          </a:bodyPr>
          <a:lstStyle>
            <a:lvl1pPr marL="0" indent="0">
              <a:buNone/>
              <a:defRPr sz="2400" b="0">
                <a:solidFill>
                  <a:schemeClr val="tx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Edit Master text styles</a:t>
            </a:r>
          </a:p>
        </p:txBody>
      </p:sp>
      <p:sp>
        <p:nvSpPr>
          <p:cNvPr id="11"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a:t>Click To Edit Master Title</a:t>
            </a:r>
          </a:p>
        </p:txBody>
      </p:sp>
      <p:sp>
        <p:nvSpPr>
          <p:cNvPr id="6" name="Footer Placeholder 61">
            <a:extLst>
              <a:ext uri="{FF2B5EF4-FFF2-40B4-BE49-F238E27FC236}">
                <a16:creationId xmlns:a16="http://schemas.microsoft.com/office/drawing/2014/main" id="{EDE02D39-FEFC-4763-B157-6FF38C386587}"/>
              </a:ext>
            </a:extLst>
          </p:cNvPr>
          <p:cNvSpPr>
            <a:spLocks noGrp="1"/>
          </p:cNvSpPr>
          <p:nvPr>
            <p:ph type="ftr" sz="quarter" idx="11"/>
          </p:nvPr>
        </p:nvSpPr>
        <p:spPr>
          <a:xfrm>
            <a:off x="548783" y="6473952"/>
            <a:ext cx="3861806" cy="153888"/>
          </a:xfrm>
        </p:spPr>
        <p:txBody>
          <a:bodyPr lIns="0"/>
          <a:lstStyle>
            <a:lvl1pPr>
              <a:defRPr cap="none">
                <a:solidFill>
                  <a:schemeClr val="tx1"/>
                </a:solidFill>
              </a:defRPr>
            </a:lvl1pPr>
          </a:lstStyle>
          <a:p>
            <a:endParaRPr lang="en-US" sz="1000">
              <a:cs typeface="Arial" pitchFamily="34" charset="0"/>
            </a:endParaRPr>
          </a:p>
        </p:txBody>
      </p:sp>
      <p:sp>
        <p:nvSpPr>
          <p:cNvPr id="2" name="Slide Number Placeholder 4">
            <a:extLst>
              <a:ext uri="{FF2B5EF4-FFF2-40B4-BE49-F238E27FC236}">
                <a16:creationId xmlns:a16="http://schemas.microsoft.com/office/drawing/2014/main" id="{5DBC8104-A3BC-0175-E84E-9FDFC4AEEBA6}"/>
              </a:ext>
            </a:extLst>
          </p:cNvPr>
          <p:cNvSpPr>
            <a:spLocks noGrp="1"/>
          </p:cNvSpPr>
          <p:nvPr>
            <p:ph type="sldNum" sz="quarter" idx="12"/>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89013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ck_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D02D6D82-21E3-7D36-BDF8-BD83715306E1}"/>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438895578"/>
      </p:ext>
    </p:extLst>
  </p:cSld>
  <p:clrMapOvr>
    <a:masterClrMapping/>
  </p:clrMapOvr>
  <p:transition spd="med">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548783" y="403624"/>
            <a:ext cx="11076268" cy="521208"/>
          </a:xfrm>
          <a:prstGeom prst="rect">
            <a:avLst/>
          </a:prstGeom>
        </p:spPr>
        <p:txBody>
          <a:bodyPr wrap="square" lIns="0" tIns="0" rIns="0" bIns="0" anchor="t" anchorCtr="0"/>
          <a:lstStyle>
            <a:lvl1pPr marL="0" algn="l" defTabSz="1218987" rtl="0" eaLnBrk="1" latinLnBrk="0" hangingPunct="1">
              <a:lnSpc>
                <a:spcPts val="32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548783" y="1308880"/>
            <a:ext cx="11076268" cy="4906726"/>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2" name="Slide Number Placeholder 4">
            <a:extLst>
              <a:ext uri="{FF2B5EF4-FFF2-40B4-BE49-F238E27FC236}">
                <a16:creationId xmlns:a16="http://schemas.microsoft.com/office/drawing/2014/main" id="{886A186B-1BBD-7EB0-061C-CD395E45C2DB}"/>
              </a:ext>
            </a:extLst>
          </p:cNvPr>
          <p:cNvSpPr>
            <a:spLocks noGrp="1"/>
          </p:cNvSpPr>
          <p:nvPr>
            <p:ph type="sldNum" sz="quarter" idx="10"/>
          </p:nvPr>
        </p:nvSpPr>
        <p:spPr>
          <a:xfrm>
            <a:off x="11672569" y="6400800"/>
            <a:ext cx="439026" cy="155448"/>
          </a:xfrm>
          <a:prstGeom prst="rect">
            <a:avLst/>
          </a:prstGeom>
        </p:spPr>
        <p:txBody>
          <a:bodyPr/>
          <a:lstStyle>
            <a:lvl1pPr>
              <a:defRPr sz="1600">
                <a:solidFill>
                  <a:schemeClr val="bg1"/>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847953577"/>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B928E-07F6-2132-B388-8875FA0A16B6}"/>
              </a:ext>
            </a:extLst>
          </p:cNvPr>
          <p:cNvSpPr>
            <a:spLocks noGrp="1"/>
          </p:cNvSpPr>
          <p:nvPr>
            <p:ph type="title"/>
          </p:nvPr>
        </p:nvSpPr>
        <p:spPr>
          <a:xfrm>
            <a:off x="838201" y="365129"/>
            <a:ext cx="10515600" cy="1325563"/>
          </a:xfrm>
          <a:prstGeom prst="rect">
            <a:avLst/>
          </a:prstGeom>
        </p:spPr>
        <p:txBody>
          <a:bodyPr/>
          <a:lstStyle/>
          <a:p>
            <a:r>
              <a:rPr lang="en-US"/>
              <a:t>Click to edit Master title style</a:t>
            </a:r>
            <a:endParaRPr lang="fr-FR"/>
          </a:p>
        </p:txBody>
      </p:sp>
      <p:sp>
        <p:nvSpPr>
          <p:cNvPr id="3" name="Slide Number Placeholder 2">
            <a:extLst>
              <a:ext uri="{FF2B5EF4-FFF2-40B4-BE49-F238E27FC236}">
                <a16:creationId xmlns:a16="http://schemas.microsoft.com/office/drawing/2014/main" id="{FA832A37-2EE2-ACFB-A428-A5BE566C01F8}"/>
              </a:ext>
            </a:extLst>
          </p:cNvPr>
          <p:cNvSpPr>
            <a:spLocks noGrp="1"/>
          </p:cNvSpPr>
          <p:nvPr>
            <p:ph type="sldNum" sz="quarter" idx="10"/>
          </p:nvPr>
        </p:nvSpPr>
        <p:spPr/>
        <p:txBody>
          <a:bodyPr/>
          <a:lstStyle/>
          <a:p>
            <a:fld id="{6D22F896-40B5-4ADD-8801-0D06FADFA095}" type="slidenum">
              <a:rPr lang="en-US" smtClean="0"/>
              <a:pPr/>
              <a:t>‹#›</a:t>
            </a:fld>
            <a:endParaRPr lang="en-US"/>
          </a:p>
        </p:txBody>
      </p:sp>
      <p:pic>
        <p:nvPicPr>
          <p:cNvPr id="4" name="Picture 3">
            <a:extLst>
              <a:ext uri="{FF2B5EF4-FFF2-40B4-BE49-F238E27FC236}">
                <a16:creationId xmlns:a16="http://schemas.microsoft.com/office/drawing/2014/main" id="{2DF37BCE-718A-FC15-C8DD-3A56C2030BD1}"/>
              </a:ext>
            </a:extLst>
          </p:cNvPr>
          <p:cNvPicPr>
            <a:picLocks noChangeAspect="1"/>
          </p:cNvPicPr>
          <p:nvPr userDrawn="1"/>
        </p:nvPicPr>
        <p:blipFill rotWithShape="1">
          <a:blip r:embed="rId2"/>
          <a:srcRect l="32043" t="11491" r="5965" b="53451"/>
          <a:stretch/>
        </p:blipFill>
        <p:spPr>
          <a:xfrm rot="16200000" flipH="1">
            <a:off x="2667003" y="-2666999"/>
            <a:ext cx="6858001" cy="12191999"/>
          </a:xfrm>
          <a:prstGeom prst="rect">
            <a:avLst/>
          </a:prstGeom>
        </p:spPr>
      </p:pic>
      <p:sp>
        <p:nvSpPr>
          <p:cNvPr id="5" name="Rectangle 4">
            <a:extLst>
              <a:ext uri="{FF2B5EF4-FFF2-40B4-BE49-F238E27FC236}">
                <a16:creationId xmlns:a16="http://schemas.microsoft.com/office/drawing/2014/main" id="{8B5F64C2-EDC4-44D2-4A86-422748017BA8}"/>
              </a:ext>
            </a:extLst>
          </p:cNvPr>
          <p:cNvSpPr/>
          <p:nvPr userDrawn="1"/>
        </p:nvSpPr>
        <p:spPr>
          <a:xfrm>
            <a:off x="3" y="-1"/>
            <a:ext cx="12192000" cy="6858000"/>
          </a:xfrm>
          <a:prstGeom prst="rect">
            <a:avLst/>
          </a:prstGeom>
          <a:solidFill>
            <a:srgbClr val="471B48">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736" tIns="182736" rIns="182736" bIns="182736" rtlCol="0" anchor="t"/>
          <a:lstStyle/>
          <a:p>
            <a:pPr algn="l"/>
            <a:endParaRPr lang="en-US" sz="1600" err="1">
              <a:solidFill>
                <a:prstClr val="white"/>
              </a:solidFill>
            </a:endParaRPr>
          </a:p>
        </p:txBody>
      </p:sp>
      <p:sp>
        <p:nvSpPr>
          <p:cNvPr id="6" name="Slide Number Placeholder 4">
            <a:extLst>
              <a:ext uri="{FF2B5EF4-FFF2-40B4-BE49-F238E27FC236}">
                <a16:creationId xmlns:a16="http://schemas.microsoft.com/office/drawing/2014/main" id="{8F9D7093-6CA4-29EB-574A-50C20E4E60E9}"/>
              </a:ext>
            </a:extLst>
          </p:cNvPr>
          <p:cNvSpPr txBox="1">
            <a:spLocks/>
          </p:cNvSpPr>
          <p:nvPr userDrawn="1"/>
        </p:nvSpPr>
        <p:spPr>
          <a:xfrm>
            <a:off x="11672569" y="6400800"/>
            <a:ext cx="439026" cy="15544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22F896-40B5-4ADD-8801-0D06FADFA095}" type="slidenum">
              <a:rPr lang="en-US" smtClean="0"/>
              <a:pPr/>
              <a:t>‹#›</a:t>
            </a:fld>
            <a:endParaRPr lang="en-US"/>
          </a:p>
        </p:txBody>
      </p:sp>
    </p:spTree>
    <p:extLst>
      <p:ext uri="{BB962C8B-B14F-4D97-AF65-F5344CB8AC3E}">
        <p14:creationId xmlns:p14="http://schemas.microsoft.com/office/powerpoint/2010/main" val="3700672598"/>
      </p:ext>
    </p:extLst>
  </p:cSld>
  <p:clrMapOvr>
    <a:overrideClrMapping bg1="lt1" tx1="dk1" bg2="lt2" tx2="dk2" accent1="accent1" accent2="accent2" accent3="accent3" accent4="accent4" accent5="accent5" accent6="accent6" hlink="hlink" folHlink="folHlink"/>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Quote Layout_Color">
    <p:bg>
      <p:bgPr>
        <a:gradFill>
          <a:gsLst>
            <a:gs pos="100000">
              <a:srgbClr val="391262"/>
            </a:gs>
            <a:gs pos="38000">
              <a:srgbClr val="64131E"/>
            </a:gs>
            <a:gs pos="0">
              <a:srgbClr val="831B22"/>
            </a:gs>
            <a:gs pos="71000">
              <a:srgbClr val="4D144A"/>
            </a:gs>
          </a:gsLst>
          <a:path path="circle">
            <a:fillToRect l="100000" t="100000"/>
          </a:path>
        </a:gradFill>
        <a:effectLst/>
      </p:bgPr>
    </p:bg>
    <p:spTree>
      <p:nvGrpSpPr>
        <p:cNvPr id="1" name=""/>
        <p:cNvGrpSpPr/>
        <p:nvPr/>
      </p:nvGrpSpPr>
      <p:grpSpPr>
        <a:xfrm>
          <a:off x="0" y="0"/>
          <a:ext cx="0" cy="0"/>
          <a:chOff x="0" y="0"/>
          <a:chExt cx="0" cy="0"/>
        </a:xfrm>
      </p:grpSpPr>
      <p:sp>
        <p:nvSpPr>
          <p:cNvPr id="15" name="Text Placeholder 107"/>
          <p:cNvSpPr>
            <a:spLocks noGrp="1"/>
          </p:cNvSpPr>
          <p:nvPr>
            <p:ph type="body" sz="quarter" idx="18" hasCustomPrompt="1"/>
          </p:nvPr>
        </p:nvSpPr>
        <p:spPr bwMode="white">
          <a:xfrm>
            <a:off x="759025" y="1812556"/>
            <a:ext cx="9910167" cy="2759445"/>
          </a:xfrm>
          <a:prstGeom prst="rect">
            <a:avLst/>
          </a:prstGeom>
        </p:spPr>
        <p:txBody>
          <a:bodyPr lIns="0" anchor="t">
            <a:normAutofit/>
          </a:bodyPr>
          <a:lstStyle>
            <a:lvl1pPr marL="0" indent="0" algn="l">
              <a:lnSpc>
                <a:spcPct val="85000"/>
              </a:lnSpc>
              <a:spcBef>
                <a:spcPts val="0"/>
              </a:spcBef>
              <a:buNone/>
              <a:defRPr sz="4400" b="1" spc="-150">
                <a:solidFill>
                  <a:schemeClr val="bg1"/>
                </a:solidFill>
              </a:defRPr>
            </a:lvl1pPr>
            <a:lvl2pPr marL="341313" indent="0" algn="ctr">
              <a:buNone/>
              <a:defRPr>
                <a:solidFill>
                  <a:schemeClr val="bg1"/>
                </a:solidFill>
              </a:defRPr>
            </a:lvl2pPr>
            <a:lvl3pPr marL="679450" indent="0" algn="ctr">
              <a:buNone/>
              <a:defRPr>
                <a:solidFill>
                  <a:schemeClr val="bg1"/>
                </a:solidFill>
              </a:defRPr>
            </a:lvl3pPr>
            <a:lvl4pPr marL="966787" indent="0" algn="ctr">
              <a:buNone/>
              <a:defRPr>
                <a:solidFill>
                  <a:schemeClr val="bg1"/>
                </a:solidFill>
              </a:defRPr>
            </a:lvl4pPr>
            <a:lvl5pPr marL="1146175" indent="0" algn="ctr">
              <a:buNone/>
              <a:defRPr>
                <a:solidFill>
                  <a:schemeClr val="bg1"/>
                </a:solidFill>
              </a:defRPr>
            </a:lvl5pPr>
          </a:lstStyle>
          <a:p>
            <a:pPr lvl="0"/>
            <a:r>
              <a:rPr lang="en-US"/>
              <a:t>Click to edit quote</a:t>
            </a:r>
          </a:p>
        </p:txBody>
      </p:sp>
      <p:sp>
        <p:nvSpPr>
          <p:cNvPr id="17" name="Text Placeholder 110"/>
          <p:cNvSpPr>
            <a:spLocks noGrp="1"/>
          </p:cNvSpPr>
          <p:nvPr>
            <p:ph type="body" sz="quarter" idx="19" hasCustomPrompt="1"/>
          </p:nvPr>
        </p:nvSpPr>
        <p:spPr>
          <a:xfrm>
            <a:off x="759024" y="5045446"/>
            <a:ext cx="9910168" cy="406265"/>
          </a:xfrm>
          <a:prstGeom prst="rect">
            <a:avLst/>
          </a:prstGeom>
        </p:spPr>
        <p:txBody>
          <a:bodyPr lIns="0">
            <a:noAutofit/>
          </a:bodyPr>
          <a:lstStyle>
            <a:lvl1pPr marL="0" indent="0" algn="l">
              <a:lnSpc>
                <a:spcPct val="85000"/>
              </a:lnSpc>
              <a:spcBef>
                <a:spcPts val="0"/>
              </a:spcBef>
              <a:buNone/>
              <a:defRPr sz="2400" b="1" spc="-150" baseline="0">
                <a:solidFill>
                  <a:schemeClr val="bg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a:t>Click to edit quote source</a:t>
            </a:r>
          </a:p>
        </p:txBody>
      </p:sp>
      <p:sp>
        <p:nvSpPr>
          <p:cNvPr id="2" name="Slide Number Placeholder 1">
            <a:extLst>
              <a:ext uri="{FF2B5EF4-FFF2-40B4-BE49-F238E27FC236}">
                <a16:creationId xmlns:a16="http://schemas.microsoft.com/office/drawing/2014/main" id="{EBA179E8-3325-1689-7216-8DD26DF9516C}"/>
              </a:ext>
            </a:extLst>
          </p:cNvPr>
          <p:cNvSpPr>
            <a:spLocks noGrp="1"/>
          </p:cNvSpPr>
          <p:nvPr>
            <p:ph type="sldNum" sz="quarter" idx="20"/>
          </p:nvPr>
        </p:nvSpPr>
        <p:spPr/>
        <p:txBody>
          <a:bodyPr/>
          <a:lstStyle>
            <a:lvl1pPr>
              <a:defRPr>
                <a:solidFill>
                  <a:schemeClr val="bg1"/>
                </a:solidFill>
              </a:defRPr>
            </a:lvl1pPr>
          </a:lstStyle>
          <a:p>
            <a:fld id="{6D22F896-40B5-4ADD-8801-0D06FADFA095}" type="slidenum">
              <a:rPr lang="en-US" smtClean="0"/>
              <a:pPr/>
              <a:t>‹#›</a:t>
            </a:fld>
            <a:endParaRPr lang="en-US"/>
          </a:p>
        </p:txBody>
      </p:sp>
      <p:sp>
        <p:nvSpPr>
          <p:cNvPr id="3" name="Slide Number Placeholder 4">
            <a:extLst>
              <a:ext uri="{FF2B5EF4-FFF2-40B4-BE49-F238E27FC236}">
                <a16:creationId xmlns:a16="http://schemas.microsoft.com/office/drawing/2014/main" id="{45FCCF0A-598B-D332-2CC5-B6D602CC4AD5}"/>
              </a:ext>
            </a:extLst>
          </p:cNvPr>
          <p:cNvSpPr txBox="1">
            <a:spLocks/>
          </p:cNvSpPr>
          <p:nvPr userDrawn="1"/>
        </p:nvSpPr>
        <p:spPr>
          <a:xfrm>
            <a:off x="11672569" y="6400800"/>
            <a:ext cx="439026" cy="15544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22F896-40B5-4ADD-8801-0D06FADFA095}" type="slidenum">
              <a:rPr lang="en-US" smtClean="0"/>
              <a:pPr/>
              <a:t>‹#›</a:t>
            </a:fld>
            <a:endParaRPr lang="en-US"/>
          </a:p>
        </p:txBody>
      </p:sp>
    </p:spTree>
    <p:extLst>
      <p:ext uri="{BB962C8B-B14F-4D97-AF65-F5344CB8AC3E}">
        <p14:creationId xmlns:p14="http://schemas.microsoft.com/office/powerpoint/2010/main" val="2171734510"/>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1_Title Slide_Image">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D7418-870D-47A9-9B12-D735D8F4BB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6200000">
            <a:off x="2667002" y="-2667001"/>
            <a:ext cx="6857999" cy="12192001"/>
          </a:xfrm>
          <a:prstGeom prst="rect">
            <a:avLst/>
          </a:prstGeom>
        </p:spPr>
      </p:pic>
      <p:sp>
        <p:nvSpPr>
          <p:cNvPr id="8" name="Slide Number Placeholder 5">
            <a:extLst>
              <a:ext uri="{FF2B5EF4-FFF2-40B4-BE49-F238E27FC236}">
                <a16:creationId xmlns:a16="http://schemas.microsoft.com/office/drawing/2014/main" id="{21A8AC5B-0FB6-4513-80A6-0066323A4350}"/>
              </a:ext>
            </a:extLst>
          </p:cNvPr>
          <p:cNvSpPr>
            <a:spLocks noGrp="1"/>
          </p:cNvSpPr>
          <p:nvPr>
            <p:ph type="sldNum" sz="quarter" idx="4"/>
          </p:nvPr>
        </p:nvSpPr>
        <p:spPr>
          <a:xfrm>
            <a:off x="11752974" y="6473952"/>
            <a:ext cx="439026" cy="155448"/>
          </a:xfrm>
          <a:prstGeom prst="rect">
            <a:avLst/>
          </a:prstGeom>
        </p:spPr>
        <p:txBody>
          <a:bodyPr vert="horz" lIns="0" tIns="0" rIns="0" bIns="0" rtlCol="0" anchor="ctr"/>
          <a:lstStyle>
            <a:lvl1pPr algn="ctr">
              <a:defRPr sz="1000">
                <a:solidFill>
                  <a:schemeClr val="bg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sp>
        <p:nvSpPr>
          <p:cNvPr id="6" name="TextBox 5">
            <a:extLst>
              <a:ext uri="{FF2B5EF4-FFF2-40B4-BE49-F238E27FC236}">
                <a16:creationId xmlns:a16="http://schemas.microsoft.com/office/drawing/2014/main" id="{C2CB7F78-ED68-4706-8284-0A9C354C32ED}"/>
              </a:ext>
            </a:extLst>
          </p:cNvPr>
          <p:cNvSpPr txBox="1"/>
          <p:nvPr userDrawn="1"/>
        </p:nvSpPr>
        <p:spPr>
          <a:xfrm>
            <a:off x="1396578" y="6473952"/>
            <a:ext cx="4115872" cy="153888"/>
          </a:xfrm>
          <a:prstGeom prst="rect">
            <a:avLst/>
          </a:prstGeom>
          <a:noFill/>
        </p:spPr>
        <p:txBody>
          <a:bodyPr wrap="square" lIns="0" tIns="0" rIns="0" bIns="0" rtlCol="0">
            <a:spAutoFit/>
          </a:bodyPr>
          <a:lstStyle/>
          <a:p>
            <a:r>
              <a:rPr lang="en-GB" sz="1000">
                <a:solidFill>
                  <a:schemeClr val="bg1"/>
                </a:solidFill>
                <a:latin typeface="Arial" pitchFamily="34" charset="0"/>
                <a:cs typeface="Arial" pitchFamily="34" charset="0"/>
              </a:rPr>
              <a:t>2025 Lenovo Internal. All rights reserved.</a:t>
            </a:r>
            <a:endParaRPr lang="en-US" sz="1000">
              <a:solidFill>
                <a:schemeClr val="bg1"/>
              </a:solidFill>
              <a:latin typeface="Arial" pitchFamily="34" charset="0"/>
              <a:cs typeface="Arial" pitchFamily="34" charset="0"/>
            </a:endParaRPr>
          </a:p>
        </p:txBody>
      </p:sp>
      <p:grpSp>
        <p:nvGrpSpPr>
          <p:cNvPr id="7" name="Group 6">
            <a:extLst>
              <a:ext uri="{FF2B5EF4-FFF2-40B4-BE49-F238E27FC236}">
                <a16:creationId xmlns:a16="http://schemas.microsoft.com/office/drawing/2014/main" id="{305B1492-C941-4458-9279-08BC8F36BDA8}"/>
              </a:ext>
            </a:extLst>
          </p:cNvPr>
          <p:cNvGrpSpPr/>
          <p:nvPr userDrawn="1"/>
        </p:nvGrpSpPr>
        <p:grpSpPr>
          <a:xfrm>
            <a:off x="554483" y="6421482"/>
            <a:ext cx="734547" cy="245008"/>
            <a:chOff x="547688" y="952500"/>
            <a:chExt cx="12190413" cy="4067175"/>
          </a:xfrm>
        </p:grpSpPr>
        <p:sp>
          <p:nvSpPr>
            <p:cNvPr id="10" name="Rectangle 9">
              <a:extLst>
                <a:ext uri="{FF2B5EF4-FFF2-40B4-BE49-F238E27FC236}">
                  <a16:creationId xmlns:a16="http://schemas.microsoft.com/office/drawing/2014/main" id="{964E3BC8-EB9E-4924-A8D0-3B4F5EB0194E}"/>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1" name="Freeform 9">
              <a:extLst>
                <a:ext uri="{FF2B5EF4-FFF2-40B4-BE49-F238E27FC236}">
                  <a16:creationId xmlns:a16="http://schemas.microsoft.com/office/drawing/2014/main" id="{DEC34E6A-49EC-4B3B-88B3-87CDCDEB3570}"/>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2" name="Freeform 12">
              <a:extLst>
                <a:ext uri="{FF2B5EF4-FFF2-40B4-BE49-F238E27FC236}">
                  <a16:creationId xmlns:a16="http://schemas.microsoft.com/office/drawing/2014/main" id="{269414EA-2237-4AEA-B401-E59802056C01}"/>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3" name="Freeform 13">
              <a:extLst>
                <a:ext uri="{FF2B5EF4-FFF2-40B4-BE49-F238E27FC236}">
                  <a16:creationId xmlns:a16="http://schemas.microsoft.com/office/drawing/2014/main" id="{0D087ADC-D958-4A38-BAF8-124D57A80F6C}"/>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4" name="Freeform 14">
              <a:extLst>
                <a:ext uri="{FF2B5EF4-FFF2-40B4-BE49-F238E27FC236}">
                  <a16:creationId xmlns:a16="http://schemas.microsoft.com/office/drawing/2014/main" id="{B6EF34C0-1A90-44B1-A913-F752D55EAB4C}"/>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5" name="Freeform 10">
              <a:extLst>
                <a:ext uri="{FF2B5EF4-FFF2-40B4-BE49-F238E27FC236}">
                  <a16:creationId xmlns:a16="http://schemas.microsoft.com/office/drawing/2014/main" id="{D28A6468-3C60-4662-9FE9-FA2C80ABFB3C}"/>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6" name="Freeform 11">
              <a:extLst>
                <a:ext uri="{FF2B5EF4-FFF2-40B4-BE49-F238E27FC236}">
                  <a16:creationId xmlns:a16="http://schemas.microsoft.com/office/drawing/2014/main" id="{6997962E-2990-435A-A114-44B47FC1BC6B}"/>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pic>
        <p:nvPicPr>
          <p:cNvPr id="2" name="Picture 1">
            <a:extLst>
              <a:ext uri="{FF2B5EF4-FFF2-40B4-BE49-F238E27FC236}">
                <a16:creationId xmlns:a16="http://schemas.microsoft.com/office/drawing/2014/main" id="{F0A73078-D044-6596-F9DA-591395ACE6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5400000">
            <a:off x="2665414" y="-2665413"/>
            <a:ext cx="6857999" cy="12188826"/>
          </a:xfrm>
          <a:prstGeom prst="rect">
            <a:avLst/>
          </a:prstGeom>
        </p:spPr>
      </p:pic>
      <p:grpSp>
        <p:nvGrpSpPr>
          <p:cNvPr id="4" name="Group 3">
            <a:extLst>
              <a:ext uri="{FF2B5EF4-FFF2-40B4-BE49-F238E27FC236}">
                <a16:creationId xmlns:a16="http://schemas.microsoft.com/office/drawing/2014/main" id="{A3B846DC-1E49-E514-EBB4-5DA16B00CA67}"/>
              </a:ext>
            </a:extLst>
          </p:cNvPr>
          <p:cNvGrpSpPr/>
          <p:nvPr userDrawn="1"/>
        </p:nvGrpSpPr>
        <p:grpSpPr>
          <a:xfrm>
            <a:off x="554484" y="6421482"/>
            <a:ext cx="734547" cy="245008"/>
            <a:chOff x="547688" y="952500"/>
            <a:chExt cx="12190413" cy="4067175"/>
          </a:xfrm>
        </p:grpSpPr>
        <p:sp>
          <p:nvSpPr>
            <p:cNvPr id="5" name="Rectangle 4">
              <a:extLst>
                <a:ext uri="{FF2B5EF4-FFF2-40B4-BE49-F238E27FC236}">
                  <a16:creationId xmlns:a16="http://schemas.microsoft.com/office/drawing/2014/main" id="{6A1FA9BD-81D7-F2CE-4072-4774679BA0AF}"/>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bg1"/>
                </a:solidFill>
              </a:endParaRPr>
            </a:p>
          </p:txBody>
        </p:sp>
        <p:sp>
          <p:nvSpPr>
            <p:cNvPr id="9" name="Freeform 7">
              <a:extLst>
                <a:ext uri="{FF2B5EF4-FFF2-40B4-BE49-F238E27FC236}">
                  <a16:creationId xmlns:a16="http://schemas.microsoft.com/office/drawing/2014/main" id="{F3CF4EB9-B2E0-0E43-8BA7-C64510BD55D6}"/>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bg1"/>
                </a:solidFill>
              </a:endParaRPr>
            </a:p>
          </p:txBody>
        </p:sp>
        <p:sp>
          <p:nvSpPr>
            <p:cNvPr id="17" name="Freeform 8">
              <a:extLst>
                <a:ext uri="{FF2B5EF4-FFF2-40B4-BE49-F238E27FC236}">
                  <a16:creationId xmlns:a16="http://schemas.microsoft.com/office/drawing/2014/main" id="{838ED209-DD3E-B57A-9051-45B998811FB2}"/>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bg1"/>
                </a:solidFill>
              </a:endParaRPr>
            </a:p>
          </p:txBody>
        </p:sp>
        <p:sp>
          <p:nvSpPr>
            <p:cNvPr id="18" name="Freeform 10">
              <a:extLst>
                <a:ext uri="{FF2B5EF4-FFF2-40B4-BE49-F238E27FC236}">
                  <a16:creationId xmlns:a16="http://schemas.microsoft.com/office/drawing/2014/main" id="{AD3D5C41-F38B-4D45-6898-A2537177C79F}"/>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bg1"/>
                </a:solidFill>
              </a:endParaRPr>
            </a:p>
          </p:txBody>
        </p:sp>
        <p:sp>
          <p:nvSpPr>
            <p:cNvPr id="19" name="Freeform 11">
              <a:extLst>
                <a:ext uri="{FF2B5EF4-FFF2-40B4-BE49-F238E27FC236}">
                  <a16:creationId xmlns:a16="http://schemas.microsoft.com/office/drawing/2014/main" id="{CFAD1358-B670-3C03-108E-374115D01015}"/>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bg1"/>
                </a:solidFill>
              </a:endParaRPr>
            </a:p>
          </p:txBody>
        </p:sp>
        <p:sp>
          <p:nvSpPr>
            <p:cNvPr id="20" name="Freeform 10">
              <a:extLst>
                <a:ext uri="{FF2B5EF4-FFF2-40B4-BE49-F238E27FC236}">
                  <a16:creationId xmlns:a16="http://schemas.microsoft.com/office/drawing/2014/main" id="{0EFD2009-1A4E-A036-468F-2F7E03A10D53}"/>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bg1"/>
                </a:solidFill>
              </a:endParaRPr>
            </a:p>
          </p:txBody>
        </p:sp>
        <p:sp>
          <p:nvSpPr>
            <p:cNvPr id="21" name="Freeform 11">
              <a:extLst>
                <a:ext uri="{FF2B5EF4-FFF2-40B4-BE49-F238E27FC236}">
                  <a16:creationId xmlns:a16="http://schemas.microsoft.com/office/drawing/2014/main" id="{533E800B-542E-D9C0-52A6-B6C05419BEB1}"/>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bg1"/>
                </a:solidFill>
              </a:endParaRPr>
            </a:p>
          </p:txBody>
        </p:sp>
      </p:grpSp>
      <p:sp>
        <p:nvSpPr>
          <p:cNvPr id="23" name="TextBox 22">
            <a:extLst>
              <a:ext uri="{FF2B5EF4-FFF2-40B4-BE49-F238E27FC236}">
                <a16:creationId xmlns:a16="http://schemas.microsoft.com/office/drawing/2014/main" id="{7D635CBF-123B-C3F6-331C-7786407DD3E2}"/>
              </a:ext>
            </a:extLst>
          </p:cNvPr>
          <p:cNvSpPr txBox="1"/>
          <p:nvPr userDrawn="1"/>
        </p:nvSpPr>
        <p:spPr>
          <a:xfrm>
            <a:off x="1548978" y="6499131"/>
            <a:ext cx="4115872" cy="153888"/>
          </a:xfrm>
          <a:prstGeom prst="rect">
            <a:avLst/>
          </a:prstGeom>
          <a:noFill/>
        </p:spPr>
        <p:txBody>
          <a:bodyPr wrap="square" lIns="0" tIns="0" rIns="0" bIns="0" rtlCol="0">
            <a:spAutoFit/>
          </a:bodyPr>
          <a:lstStyle/>
          <a:p>
            <a:r>
              <a:rPr lang="en-GB" sz="1000">
                <a:solidFill>
                  <a:schemeClr val="bg1"/>
                </a:solidFill>
                <a:latin typeface="Arial" pitchFamily="34" charset="0"/>
                <a:cs typeface="Arial" pitchFamily="34" charset="0"/>
              </a:rPr>
              <a:t>2025 Lenovo Internal. All rights reserved.</a:t>
            </a:r>
            <a:endParaRPr lang="en-US" sz="1000">
              <a:solidFill>
                <a:schemeClr val="bg1"/>
              </a:solidFill>
              <a:latin typeface="Arial" pitchFamily="34" charset="0"/>
              <a:cs typeface="Arial" pitchFamily="34" charset="0"/>
            </a:endParaRPr>
          </a:p>
        </p:txBody>
      </p:sp>
      <p:sp>
        <p:nvSpPr>
          <p:cNvPr id="24" name="Title 28">
            <a:extLst>
              <a:ext uri="{FF2B5EF4-FFF2-40B4-BE49-F238E27FC236}">
                <a16:creationId xmlns:a16="http://schemas.microsoft.com/office/drawing/2014/main" id="{7745BA6E-F279-4FFD-5910-40D8A871E68D}"/>
              </a:ext>
            </a:extLst>
          </p:cNvPr>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2" name="Slide Number Placeholder 4">
            <a:extLst>
              <a:ext uri="{FF2B5EF4-FFF2-40B4-BE49-F238E27FC236}">
                <a16:creationId xmlns:a16="http://schemas.microsoft.com/office/drawing/2014/main" id="{5296B6C9-FEB9-8131-9DF6-D8D6F0E06AAC}"/>
              </a:ext>
            </a:extLst>
          </p:cNvPr>
          <p:cNvSpPr txBox="1">
            <a:spLocks/>
          </p:cNvSpPr>
          <p:nvPr userDrawn="1"/>
        </p:nvSpPr>
        <p:spPr>
          <a:xfrm>
            <a:off x="11672569" y="6400800"/>
            <a:ext cx="439026" cy="15544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22F896-40B5-4ADD-8801-0D06FADFA095}" type="slidenum">
              <a:rPr lang="en-US" smtClean="0"/>
              <a:pPr/>
              <a:t>‹#›</a:t>
            </a:fld>
            <a:endParaRPr lang="en-US"/>
          </a:p>
        </p:txBody>
      </p:sp>
    </p:spTree>
    <p:extLst>
      <p:ext uri="{BB962C8B-B14F-4D97-AF65-F5344CB8AC3E}">
        <p14:creationId xmlns:p14="http://schemas.microsoft.com/office/powerpoint/2010/main" val="4235155476"/>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3_Section Header_Black_Alt">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AF4A0FF-3C06-695B-0685-0FD691B62B0A}"/>
              </a:ext>
            </a:extLst>
          </p:cNvPr>
          <p:cNvSpPr/>
          <p:nvPr userDrawn="1"/>
        </p:nvSpPr>
        <p:spPr>
          <a:xfrm>
            <a:off x="8790977" y="3"/>
            <a:ext cx="3401025" cy="6857999"/>
          </a:xfrm>
          <a:prstGeom prst="rect">
            <a:avLst/>
          </a:prstGeom>
          <a:gradFill>
            <a:gsLst>
              <a:gs pos="100000">
                <a:srgbClr val="391262"/>
              </a:gs>
              <a:gs pos="38000">
                <a:srgbClr val="64131E"/>
              </a:gs>
              <a:gs pos="0">
                <a:srgbClr val="831B22"/>
              </a:gs>
              <a:gs pos="71000">
                <a:srgbClr val="4D144A"/>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182832" rIns="182832" bIns="182832" rtlCol="0" anchor="t"/>
          <a:lstStyle/>
          <a:p>
            <a:pPr algn="l"/>
            <a:endParaRPr lang="en-US" sz="1600">
              <a:solidFill>
                <a:prstClr val="white"/>
              </a:solidFill>
            </a:endParaRPr>
          </a:p>
        </p:txBody>
      </p:sp>
      <p:sp>
        <p:nvSpPr>
          <p:cNvPr id="16" name="TextBox 15">
            <a:extLst>
              <a:ext uri="{FF2B5EF4-FFF2-40B4-BE49-F238E27FC236}">
                <a16:creationId xmlns:a16="http://schemas.microsoft.com/office/drawing/2014/main" id="{C50D814F-EE5B-C084-7424-D39C0DE54FF7}"/>
              </a:ext>
            </a:extLst>
          </p:cNvPr>
          <p:cNvSpPr txBox="1"/>
          <p:nvPr userDrawn="1"/>
        </p:nvSpPr>
        <p:spPr>
          <a:xfrm>
            <a:off x="1603772" y="6401580"/>
            <a:ext cx="4115872" cy="153888"/>
          </a:xfrm>
          <a:prstGeom prst="rect">
            <a:avLst/>
          </a:prstGeom>
          <a:noFill/>
        </p:spPr>
        <p:txBody>
          <a:bodyPr wrap="square" lIns="0" tIns="0" rIns="0" bIns="0" rtlCol="0">
            <a:spAutoFit/>
          </a:bodyPr>
          <a:lstStyle/>
          <a:p>
            <a:r>
              <a:rPr lang="en-GB" sz="1000">
                <a:solidFill>
                  <a:schemeClr val="bg1"/>
                </a:solidFill>
                <a:latin typeface="Arial" pitchFamily="34" charset="0"/>
                <a:cs typeface="Arial" pitchFamily="34" charset="0"/>
              </a:rPr>
              <a:t>2025 Lenovo Internal. All rights reserved.</a:t>
            </a:r>
            <a:endParaRPr lang="en-US" sz="1000">
              <a:solidFill>
                <a:schemeClr val="bg1"/>
              </a:solidFill>
              <a:latin typeface="Arial" pitchFamily="34" charset="0"/>
              <a:cs typeface="Arial" pitchFamily="34" charset="0"/>
            </a:endParaRPr>
          </a:p>
        </p:txBody>
      </p:sp>
      <p:grpSp>
        <p:nvGrpSpPr>
          <p:cNvPr id="17" name="Group 16">
            <a:extLst>
              <a:ext uri="{FF2B5EF4-FFF2-40B4-BE49-F238E27FC236}">
                <a16:creationId xmlns:a16="http://schemas.microsoft.com/office/drawing/2014/main" id="{3C498D60-2F6C-6ADE-BB9A-D957660E0731}"/>
              </a:ext>
            </a:extLst>
          </p:cNvPr>
          <p:cNvGrpSpPr>
            <a:grpSpLocks noChangeAspect="1"/>
          </p:cNvGrpSpPr>
          <p:nvPr userDrawn="1"/>
        </p:nvGrpSpPr>
        <p:grpSpPr>
          <a:xfrm>
            <a:off x="760611" y="6348283"/>
            <a:ext cx="777442" cy="259316"/>
            <a:chOff x="547688" y="952500"/>
            <a:chExt cx="12190413" cy="4067175"/>
          </a:xfrm>
        </p:grpSpPr>
        <p:sp>
          <p:nvSpPr>
            <p:cNvPr id="18" name="Rectangle 17">
              <a:extLst>
                <a:ext uri="{FF2B5EF4-FFF2-40B4-BE49-F238E27FC236}">
                  <a16:creationId xmlns:a16="http://schemas.microsoft.com/office/drawing/2014/main" id="{C8414641-DA5A-BDF2-889C-1430A63E358C}"/>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 name="Freeform 7">
              <a:extLst>
                <a:ext uri="{FF2B5EF4-FFF2-40B4-BE49-F238E27FC236}">
                  <a16:creationId xmlns:a16="http://schemas.microsoft.com/office/drawing/2014/main" id="{6CAA72E6-FAE3-6740-34C0-7A08091254BD}"/>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 name="Freeform 8">
              <a:extLst>
                <a:ext uri="{FF2B5EF4-FFF2-40B4-BE49-F238E27FC236}">
                  <a16:creationId xmlns:a16="http://schemas.microsoft.com/office/drawing/2014/main" id="{0EE70422-5E10-8634-79CC-15428116CD0F}"/>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 name="Freeform 9">
              <a:extLst>
                <a:ext uri="{FF2B5EF4-FFF2-40B4-BE49-F238E27FC236}">
                  <a16:creationId xmlns:a16="http://schemas.microsoft.com/office/drawing/2014/main" id="{F9B9866C-878A-3BAE-D601-6317EEEB78A9}"/>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 name="Freeform 10">
              <a:extLst>
                <a:ext uri="{FF2B5EF4-FFF2-40B4-BE49-F238E27FC236}">
                  <a16:creationId xmlns:a16="http://schemas.microsoft.com/office/drawing/2014/main" id="{20DD7C9B-A88C-7ECB-27AE-CB4579CDB90D}"/>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 name="Freeform 10">
              <a:extLst>
                <a:ext uri="{FF2B5EF4-FFF2-40B4-BE49-F238E27FC236}">
                  <a16:creationId xmlns:a16="http://schemas.microsoft.com/office/drawing/2014/main" id="{084B2859-A58F-9171-5328-94CFD162F589}"/>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 name="Freeform 11">
              <a:extLst>
                <a:ext uri="{FF2B5EF4-FFF2-40B4-BE49-F238E27FC236}">
                  <a16:creationId xmlns:a16="http://schemas.microsoft.com/office/drawing/2014/main" id="{DC1829C2-6CD9-FE35-3F45-EEC10E2F169E}"/>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
        <p:nvSpPr>
          <p:cNvPr id="2" name="Slide Number Placeholder 1">
            <a:extLst>
              <a:ext uri="{FF2B5EF4-FFF2-40B4-BE49-F238E27FC236}">
                <a16:creationId xmlns:a16="http://schemas.microsoft.com/office/drawing/2014/main" id="{E01CC465-FDF1-C0A2-5A83-FB03B2F0F4B6}"/>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a:p>
        </p:txBody>
      </p:sp>
      <p:sp>
        <p:nvSpPr>
          <p:cNvPr id="3" name="Text Placeholder 2">
            <a:extLst>
              <a:ext uri="{FF2B5EF4-FFF2-40B4-BE49-F238E27FC236}">
                <a16:creationId xmlns:a16="http://schemas.microsoft.com/office/drawing/2014/main" id="{A43FD219-734D-D3AF-621B-24D58C8CC4D4}"/>
              </a:ext>
            </a:extLst>
          </p:cNvPr>
          <p:cNvSpPr>
            <a:spLocks noGrp="1"/>
          </p:cNvSpPr>
          <p:nvPr>
            <p:ph type="body" idx="11" hasCustomPrompt="1"/>
          </p:nvPr>
        </p:nvSpPr>
        <p:spPr bwMode="gray">
          <a:xfrm>
            <a:off x="8975077" y="3"/>
            <a:ext cx="3006096" cy="6857999"/>
          </a:xfrm>
          <a:prstGeom prst="rect">
            <a:avLst/>
          </a:prstGeom>
        </p:spPr>
        <p:txBody>
          <a:bodyPr lIns="0" tIns="0" rIns="0" bIns="0" anchor="ctr" anchorCtr="0">
            <a:noAutofit/>
          </a:bodyPr>
          <a:lstStyle>
            <a:lvl1pPr marL="0" indent="0">
              <a:lnSpc>
                <a:spcPct val="150000"/>
              </a:lnSpc>
              <a:spcBef>
                <a:spcPts val="0"/>
              </a:spcBef>
              <a:buNone/>
              <a:defRPr sz="2399" b="1" i="0">
                <a:solidFill>
                  <a:schemeClr val="bg1"/>
                </a:solidFill>
                <a:latin typeface="Arial" pitchFamily="34" charset="0"/>
                <a:cs typeface="Arial" pitchFamily="34" charset="0"/>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4" name="Title 28">
            <a:extLst>
              <a:ext uri="{FF2B5EF4-FFF2-40B4-BE49-F238E27FC236}">
                <a16:creationId xmlns:a16="http://schemas.microsoft.com/office/drawing/2014/main" id="{62FF0AA3-B674-9B40-C892-D6CD63B55E4A}"/>
              </a:ext>
            </a:extLst>
          </p:cNvPr>
          <p:cNvSpPr>
            <a:spLocks noGrp="1"/>
          </p:cNvSpPr>
          <p:nvPr>
            <p:ph type="title" hasCustomPrompt="1"/>
          </p:nvPr>
        </p:nvSpPr>
        <p:spPr bwMode="gray">
          <a:xfrm>
            <a:off x="760611" y="442530"/>
            <a:ext cx="7846265" cy="487314"/>
          </a:xfrm>
          <a:prstGeom prst="rect">
            <a:avLst/>
          </a:prstGeom>
        </p:spPr>
        <p:txBody>
          <a:bodyPr wrap="square" lIns="0" tIns="0" rIns="0" bIns="0" anchor="t" anchorCtr="0">
            <a:noAutofit/>
          </a:bodyPr>
          <a:lstStyle>
            <a:lvl1pPr marL="0" algn="l" defTabSz="1218621" rtl="0" eaLnBrk="1" latinLnBrk="0" hangingPunct="1">
              <a:lnSpc>
                <a:spcPct val="85000"/>
              </a:lnSpc>
              <a:spcBef>
                <a:spcPct val="0"/>
              </a:spcBef>
              <a:buNone/>
              <a:tabLst>
                <a:tab pos="1218621" algn="l"/>
              </a:tabLst>
              <a:defRPr lang="en-US" sz="3199"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5" name="Content Placeholder 2">
            <a:extLst>
              <a:ext uri="{FF2B5EF4-FFF2-40B4-BE49-F238E27FC236}">
                <a16:creationId xmlns:a16="http://schemas.microsoft.com/office/drawing/2014/main" id="{DBCA0CE2-17C4-1F68-9556-A2F4AF25460A}"/>
              </a:ext>
            </a:extLst>
          </p:cNvPr>
          <p:cNvSpPr>
            <a:spLocks noGrp="1"/>
          </p:cNvSpPr>
          <p:nvPr>
            <p:ph sz="half" idx="1"/>
          </p:nvPr>
        </p:nvSpPr>
        <p:spPr bwMode="gray">
          <a:xfrm>
            <a:off x="760611" y="2701519"/>
            <a:ext cx="3462860" cy="2910802"/>
          </a:xfrm>
          <a:prstGeom prst="rect">
            <a:avLst/>
          </a:prstGeom>
        </p:spPr>
        <p:txBody>
          <a:bodyPr lIns="0" tIns="0" rIns="0" bIns="0"/>
          <a:lstStyle>
            <a:lvl1pPr marL="171399" indent="-171399">
              <a:lnSpc>
                <a:spcPct val="100000"/>
              </a:lnSpc>
              <a:spcBef>
                <a:spcPts val="1000"/>
              </a:spcBef>
              <a:spcAft>
                <a:spcPts val="600"/>
              </a:spcAft>
              <a:buClrTx/>
              <a:buFont typeface="Arial" panose="020B0604020202020204" pitchFamily="34" charset="0"/>
              <a:buChar char="•"/>
              <a:defRPr sz="1400">
                <a:solidFill>
                  <a:schemeClr val="bg1"/>
                </a:solidFill>
                <a:latin typeface="Arial" pitchFamily="34" charset="0"/>
                <a:cs typeface="Arial" pitchFamily="34" charset="0"/>
              </a:defRPr>
            </a:lvl1pPr>
            <a:lvl2pPr marL="380819" indent="0">
              <a:lnSpc>
                <a:spcPct val="100000"/>
              </a:lnSpc>
              <a:spcBef>
                <a:spcPts val="500"/>
              </a:spcBef>
              <a:spcAft>
                <a:spcPts val="600"/>
              </a:spcAft>
              <a:buClrTx/>
              <a:buFont typeface="Arial" pitchFamily="34" charset="0"/>
              <a:buNone/>
              <a:defRPr sz="1200">
                <a:solidFill>
                  <a:schemeClr val="bg1"/>
                </a:solidFill>
                <a:latin typeface="Arial" pitchFamily="34" charset="0"/>
                <a:cs typeface="Arial" pitchFamily="34" charset="0"/>
              </a:defRPr>
            </a:lvl2pPr>
            <a:lvl3pPr marL="685474" indent="0">
              <a:lnSpc>
                <a:spcPct val="100000"/>
              </a:lnSpc>
              <a:spcBef>
                <a:spcPts val="500"/>
              </a:spcBef>
              <a:spcAft>
                <a:spcPts val="600"/>
              </a:spcAft>
              <a:buClrTx/>
              <a:buFont typeface="Arial" panose="020B0604020202020204" pitchFamily="34" charset="0"/>
              <a:buNone/>
              <a:defRPr sz="1200">
                <a:solidFill>
                  <a:schemeClr val="bg1"/>
                </a:solidFill>
                <a:latin typeface="Arial" pitchFamily="34" charset="0"/>
                <a:cs typeface="Arial" pitchFamily="34" charset="0"/>
              </a:defRPr>
            </a:lvl3pPr>
            <a:lvl4pPr marL="990130" indent="0">
              <a:lnSpc>
                <a:spcPct val="100000"/>
              </a:lnSpc>
              <a:spcBef>
                <a:spcPts val="500"/>
              </a:spcBef>
              <a:spcAft>
                <a:spcPts val="600"/>
              </a:spcAft>
              <a:buClrTx/>
              <a:buFont typeface="Arial" panose="020B0604020202020204" pitchFamily="34" charset="0"/>
              <a:buNone/>
              <a:defRPr sz="1200">
                <a:solidFill>
                  <a:schemeClr val="bg1"/>
                </a:solidFill>
                <a:latin typeface="Arial" pitchFamily="34" charset="0"/>
                <a:cs typeface="Arial" pitchFamily="34" charset="0"/>
              </a:defRPr>
            </a:lvl4pPr>
            <a:lvl5pPr marL="1294784" indent="0">
              <a:lnSpc>
                <a:spcPct val="100000"/>
              </a:lnSpc>
              <a:spcBef>
                <a:spcPts val="500"/>
              </a:spcBef>
              <a:spcAft>
                <a:spcPts val="600"/>
              </a:spcAft>
              <a:buClrTx/>
              <a:buFont typeface="Arial" panose="020B0604020202020204" pitchFamily="34" charset="0"/>
              <a:buNone/>
              <a:defRPr sz="1200">
                <a:solidFill>
                  <a:schemeClr val="bg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US"/>
              <a:t>Click to edit Master text styles</a:t>
            </a:r>
          </a:p>
        </p:txBody>
      </p:sp>
      <p:sp>
        <p:nvSpPr>
          <p:cNvPr id="6" name="Content Placeholder 2">
            <a:extLst>
              <a:ext uri="{FF2B5EF4-FFF2-40B4-BE49-F238E27FC236}">
                <a16:creationId xmlns:a16="http://schemas.microsoft.com/office/drawing/2014/main" id="{0559888F-87D0-15A0-3D59-3EA3244EC322}"/>
              </a:ext>
            </a:extLst>
          </p:cNvPr>
          <p:cNvSpPr>
            <a:spLocks noGrp="1"/>
          </p:cNvSpPr>
          <p:nvPr>
            <p:ph sz="half" idx="12"/>
          </p:nvPr>
        </p:nvSpPr>
        <p:spPr bwMode="gray">
          <a:xfrm>
            <a:off x="4775793" y="2701519"/>
            <a:ext cx="3401018" cy="2910802"/>
          </a:xfrm>
          <a:prstGeom prst="rect">
            <a:avLst/>
          </a:prstGeom>
        </p:spPr>
        <p:txBody>
          <a:bodyPr lIns="0" tIns="0" rIns="0" bIns="0"/>
          <a:lstStyle>
            <a:lvl1pPr marL="171399" indent="-171399">
              <a:lnSpc>
                <a:spcPct val="100000"/>
              </a:lnSpc>
              <a:spcBef>
                <a:spcPts val="1000"/>
              </a:spcBef>
              <a:spcAft>
                <a:spcPts val="600"/>
              </a:spcAft>
              <a:buClrTx/>
              <a:buFont typeface="Arial" panose="020B0604020202020204" pitchFamily="34" charset="0"/>
              <a:buChar char="•"/>
              <a:defRPr sz="1400">
                <a:solidFill>
                  <a:schemeClr val="bg1"/>
                </a:solidFill>
                <a:latin typeface="Arial" pitchFamily="34" charset="0"/>
                <a:cs typeface="Arial" pitchFamily="34" charset="0"/>
              </a:defRPr>
            </a:lvl1pPr>
            <a:lvl2pPr marL="380819" indent="0">
              <a:lnSpc>
                <a:spcPct val="100000"/>
              </a:lnSpc>
              <a:spcBef>
                <a:spcPts val="500"/>
              </a:spcBef>
              <a:spcAft>
                <a:spcPts val="600"/>
              </a:spcAft>
              <a:buClrTx/>
              <a:buFont typeface="Arial" pitchFamily="34" charset="0"/>
              <a:buNone/>
              <a:defRPr sz="1200">
                <a:solidFill>
                  <a:schemeClr val="bg1"/>
                </a:solidFill>
                <a:latin typeface="Arial" pitchFamily="34" charset="0"/>
                <a:cs typeface="Arial" pitchFamily="34" charset="0"/>
              </a:defRPr>
            </a:lvl2pPr>
            <a:lvl3pPr marL="685474" indent="0">
              <a:lnSpc>
                <a:spcPct val="100000"/>
              </a:lnSpc>
              <a:spcBef>
                <a:spcPts val="500"/>
              </a:spcBef>
              <a:spcAft>
                <a:spcPts val="600"/>
              </a:spcAft>
              <a:buClrTx/>
              <a:buFont typeface="Arial" panose="020B0604020202020204" pitchFamily="34" charset="0"/>
              <a:buNone/>
              <a:defRPr sz="1200">
                <a:solidFill>
                  <a:schemeClr val="bg1"/>
                </a:solidFill>
                <a:latin typeface="Arial" pitchFamily="34" charset="0"/>
                <a:cs typeface="Arial" pitchFamily="34" charset="0"/>
              </a:defRPr>
            </a:lvl3pPr>
            <a:lvl4pPr marL="990130" indent="0">
              <a:lnSpc>
                <a:spcPct val="100000"/>
              </a:lnSpc>
              <a:spcBef>
                <a:spcPts val="500"/>
              </a:spcBef>
              <a:spcAft>
                <a:spcPts val="600"/>
              </a:spcAft>
              <a:buClrTx/>
              <a:buFont typeface="Arial" panose="020B0604020202020204" pitchFamily="34" charset="0"/>
              <a:buNone/>
              <a:defRPr sz="1200">
                <a:solidFill>
                  <a:schemeClr val="bg1"/>
                </a:solidFill>
                <a:latin typeface="Arial" pitchFamily="34" charset="0"/>
                <a:cs typeface="Arial" pitchFamily="34" charset="0"/>
              </a:defRPr>
            </a:lvl4pPr>
            <a:lvl5pPr marL="1294784" indent="0">
              <a:lnSpc>
                <a:spcPct val="100000"/>
              </a:lnSpc>
              <a:spcBef>
                <a:spcPts val="500"/>
              </a:spcBef>
              <a:spcAft>
                <a:spcPts val="600"/>
              </a:spcAft>
              <a:buClrTx/>
              <a:buFont typeface="Arial" panose="020B0604020202020204" pitchFamily="34" charset="0"/>
              <a:buNone/>
              <a:defRPr sz="1200">
                <a:solidFill>
                  <a:schemeClr val="bg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US"/>
              <a:t>Click to edit Master text styles</a:t>
            </a:r>
          </a:p>
        </p:txBody>
      </p:sp>
      <p:sp>
        <p:nvSpPr>
          <p:cNvPr id="8" name="Content Placeholder 2">
            <a:extLst>
              <a:ext uri="{FF2B5EF4-FFF2-40B4-BE49-F238E27FC236}">
                <a16:creationId xmlns:a16="http://schemas.microsoft.com/office/drawing/2014/main" id="{010EB354-40BF-196C-6E92-8D03656A0257}"/>
              </a:ext>
            </a:extLst>
          </p:cNvPr>
          <p:cNvSpPr>
            <a:spLocks noGrp="1"/>
          </p:cNvSpPr>
          <p:nvPr>
            <p:ph sz="half" idx="14"/>
          </p:nvPr>
        </p:nvSpPr>
        <p:spPr bwMode="gray">
          <a:xfrm>
            <a:off x="760611" y="1743867"/>
            <a:ext cx="3462860" cy="748260"/>
          </a:xfrm>
          <a:prstGeom prst="rect">
            <a:avLst/>
          </a:prstGeom>
        </p:spPr>
        <p:txBody>
          <a:bodyPr lIns="0" tIns="0" rIns="0" bIns="0" anchor="b"/>
          <a:lstStyle>
            <a:lvl1pPr marL="0" indent="0">
              <a:lnSpc>
                <a:spcPct val="90000"/>
              </a:lnSpc>
              <a:spcBef>
                <a:spcPts val="1000"/>
              </a:spcBef>
              <a:buClrTx/>
              <a:buFont typeface="Arial" panose="020B0604020202020204" pitchFamily="34" charset="0"/>
              <a:buNone/>
              <a:defRPr sz="2799" b="1" i="0">
                <a:solidFill>
                  <a:schemeClr val="bg1"/>
                </a:solidFill>
                <a:latin typeface="Arial" pitchFamily="34" charset="0"/>
                <a:cs typeface="Arial" pitchFamily="34" charset="0"/>
              </a:defRPr>
            </a:lvl1pPr>
            <a:lvl2pPr marL="380819" indent="0">
              <a:lnSpc>
                <a:spcPct val="90000"/>
              </a:lnSpc>
              <a:spcBef>
                <a:spcPts val="500"/>
              </a:spcBef>
              <a:buClrTx/>
              <a:buFont typeface="Arial" pitchFamily="34" charset="0"/>
              <a:buNone/>
              <a:defRPr sz="1400">
                <a:solidFill>
                  <a:schemeClr val="bg1"/>
                </a:solidFill>
                <a:latin typeface="Arial" pitchFamily="34" charset="0"/>
                <a:cs typeface="Arial" pitchFamily="34" charset="0"/>
              </a:defRPr>
            </a:lvl2pPr>
            <a:lvl3pPr marL="685474" indent="0">
              <a:lnSpc>
                <a:spcPct val="90000"/>
              </a:lnSpc>
              <a:spcBef>
                <a:spcPts val="500"/>
              </a:spcBef>
              <a:buClrTx/>
              <a:buFont typeface="Arial" panose="020B0604020202020204" pitchFamily="34" charset="0"/>
              <a:buNone/>
              <a:defRPr sz="1400">
                <a:solidFill>
                  <a:schemeClr val="bg1"/>
                </a:solidFill>
                <a:latin typeface="Arial" pitchFamily="34" charset="0"/>
                <a:cs typeface="Arial" pitchFamily="34" charset="0"/>
              </a:defRPr>
            </a:lvl3pPr>
            <a:lvl4pPr marL="990130" indent="0">
              <a:lnSpc>
                <a:spcPct val="90000"/>
              </a:lnSpc>
              <a:spcBef>
                <a:spcPts val="500"/>
              </a:spcBef>
              <a:buClrTx/>
              <a:buFont typeface="Arial" panose="020B0604020202020204" pitchFamily="34" charset="0"/>
              <a:buNone/>
              <a:defRPr sz="1400">
                <a:solidFill>
                  <a:schemeClr val="bg1"/>
                </a:solidFill>
                <a:latin typeface="Arial" pitchFamily="34" charset="0"/>
                <a:cs typeface="Arial" pitchFamily="34" charset="0"/>
              </a:defRPr>
            </a:lvl4pPr>
            <a:lvl5pPr marL="1294784" indent="0">
              <a:lnSpc>
                <a:spcPct val="90000"/>
              </a:lnSpc>
              <a:spcBef>
                <a:spcPts val="500"/>
              </a:spcBef>
              <a:buClrTx/>
              <a:buFont typeface="Arial" panose="020B0604020202020204" pitchFamily="34" charset="0"/>
              <a:buNone/>
              <a:defRPr sz="1400">
                <a:solidFill>
                  <a:schemeClr val="bg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US"/>
              <a:t>Click to edit Master text styles</a:t>
            </a:r>
          </a:p>
        </p:txBody>
      </p:sp>
      <p:sp>
        <p:nvSpPr>
          <p:cNvPr id="9" name="Content Placeholder 2">
            <a:extLst>
              <a:ext uri="{FF2B5EF4-FFF2-40B4-BE49-F238E27FC236}">
                <a16:creationId xmlns:a16="http://schemas.microsoft.com/office/drawing/2014/main" id="{7A06C5DC-6827-9E29-5D49-666BEAB6C879}"/>
              </a:ext>
            </a:extLst>
          </p:cNvPr>
          <p:cNvSpPr>
            <a:spLocks noGrp="1"/>
          </p:cNvSpPr>
          <p:nvPr>
            <p:ph sz="half" idx="15"/>
          </p:nvPr>
        </p:nvSpPr>
        <p:spPr bwMode="gray">
          <a:xfrm>
            <a:off x="4775793" y="1743867"/>
            <a:ext cx="3401018" cy="748260"/>
          </a:xfrm>
          <a:prstGeom prst="rect">
            <a:avLst/>
          </a:prstGeom>
        </p:spPr>
        <p:txBody>
          <a:bodyPr lIns="0" tIns="0" rIns="0" bIns="0" anchor="b"/>
          <a:lstStyle>
            <a:lvl1pPr marL="0" indent="0">
              <a:lnSpc>
                <a:spcPct val="90000"/>
              </a:lnSpc>
              <a:spcBef>
                <a:spcPts val="1000"/>
              </a:spcBef>
              <a:buClrTx/>
              <a:buFont typeface="Arial" panose="020B0604020202020204" pitchFamily="34" charset="0"/>
              <a:buNone/>
              <a:defRPr sz="2799" b="1" i="0">
                <a:solidFill>
                  <a:schemeClr val="bg1"/>
                </a:solidFill>
                <a:latin typeface="Arial" pitchFamily="34" charset="0"/>
                <a:cs typeface="Arial" pitchFamily="34" charset="0"/>
              </a:defRPr>
            </a:lvl1pPr>
            <a:lvl2pPr marL="380819" indent="0">
              <a:lnSpc>
                <a:spcPct val="90000"/>
              </a:lnSpc>
              <a:spcBef>
                <a:spcPts val="500"/>
              </a:spcBef>
              <a:buClrTx/>
              <a:buFont typeface="Arial" pitchFamily="34" charset="0"/>
              <a:buNone/>
              <a:defRPr sz="1400">
                <a:solidFill>
                  <a:schemeClr val="bg1"/>
                </a:solidFill>
                <a:latin typeface="Arial" pitchFamily="34" charset="0"/>
                <a:cs typeface="Arial" pitchFamily="34" charset="0"/>
              </a:defRPr>
            </a:lvl2pPr>
            <a:lvl3pPr marL="685474" indent="0">
              <a:lnSpc>
                <a:spcPct val="90000"/>
              </a:lnSpc>
              <a:spcBef>
                <a:spcPts val="500"/>
              </a:spcBef>
              <a:buClrTx/>
              <a:buFont typeface="Arial" panose="020B0604020202020204" pitchFamily="34" charset="0"/>
              <a:buNone/>
              <a:defRPr sz="1400">
                <a:solidFill>
                  <a:schemeClr val="bg1"/>
                </a:solidFill>
                <a:latin typeface="Arial" pitchFamily="34" charset="0"/>
                <a:cs typeface="Arial" pitchFamily="34" charset="0"/>
              </a:defRPr>
            </a:lvl3pPr>
            <a:lvl4pPr marL="990130" indent="0">
              <a:lnSpc>
                <a:spcPct val="90000"/>
              </a:lnSpc>
              <a:spcBef>
                <a:spcPts val="500"/>
              </a:spcBef>
              <a:buClrTx/>
              <a:buFont typeface="Arial" panose="020B0604020202020204" pitchFamily="34" charset="0"/>
              <a:buNone/>
              <a:defRPr sz="1400">
                <a:solidFill>
                  <a:schemeClr val="bg1"/>
                </a:solidFill>
                <a:latin typeface="Arial" pitchFamily="34" charset="0"/>
                <a:cs typeface="Arial" pitchFamily="34" charset="0"/>
              </a:defRPr>
            </a:lvl4pPr>
            <a:lvl5pPr marL="1294784" indent="0">
              <a:lnSpc>
                <a:spcPct val="90000"/>
              </a:lnSpc>
              <a:spcBef>
                <a:spcPts val="500"/>
              </a:spcBef>
              <a:buClrTx/>
              <a:buFont typeface="Arial" panose="020B0604020202020204" pitchFamily="34" charset="0"/>
              <a:buNone/>
              <a:defRPr sz="1400">
                <a:solidFill>
                  <a:schemeClr val="bg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US"/>
              <a:t>Click to edit Master text styles</a:t>
            </a:r>
          </a:p>
        </p:txBody>
      </p:sp>
      <p:sp>
        <p:nvSpPr>
          <p:cNvPr id="25" name="Text Placeholder 2">
            <a:extLst>
              <a:ext uri="{FF2B5EF4-FFF2-40B4-BE49-F238E27FC236}">
                <a16:creationId xmlns:a16="http://schemas.microsoft.com/office/drawing/2014/main" id="{48DF3E15-0616-07DB-FFBF-40581FF2247E}"/>
              </a:ext>
            </a:extLst>
          </p:cNvPr>
          <p:cNvSpPr>
            <a:spLocks noGrp="1"/>
          </p:cNvSpPr>
          <p:nvPr userDrawn="1">
            <p:ph type="body" idx="17" hasCustomPrompt="1"/>
          </p:nvPr>
        </p:nvSpPr>
        <p:spPr bwMode="gray">
          <a:xfrm>
            <a:off x="760612" y="931563"/>
            <a:ext cx="7846264" cy="261610"/>
          </a:xfrm>
          <a:prstGeom prst="rect">
            <a:avLst/>
          </a:prstGeom>
        </p:spPr>
        <p:txBody>
          <a:bodyPr lIns="0" tIns="0" rIns="0" bIns="0" anchor="t" anchorCtr="0">
            <a:noAutofit/>
          </a:bodyPr>
          <a:lstStyle>
            <a:lvl1pPr marL="0" indent="0">
              <a:lnSpc>
                <a:spcPct val="85000"/>
              </a:lnSpc>
              <a:spcBef>
                <a:spcPts val="0"/>
              </a:spcBef>
              <a:buNone/>
              <a:defRPr sz="1999" b="0">
                <a:solidFill>
                  <a:schemeClr val="bg1"/>
                </a:solidFill>
                <a:latin typeface="Arial" pitchFamily="34" charset="0"/>
                <a:cs typeface="Arial" pitchFamily="34" charset="0"/>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Tree>
    <p:extLst>
      <p:ext uri="{BB962C8B-B14F-4D97-AF65-F5344CB8AC3E}">
        <p14:creationId xmlns:p14="http://schemas.microsoft.com/office/powerpoint/2010/main" val="1737546113"/>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3_Title with Subtitle Content_Black">
    <p:bg>
      <p:bgPr>
        <a:solidFill>
          <a:schemeClr val="tx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6C6EB53-ACF5-DA42-B129-C8077B5DD6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2" name="Slide Number Placeholder 5"/>
          <p:cNvSpPr>
            <a:spLocks noGrp="1"/>
          </p:cNvSpPr>
          <p:nvPr>
            <p:ph type="sldNum" sz="quarter" idx="4"/>
          </p:nvPr>
        </p:nvSpPr>
        <p:spPr>
          <a:xfrm>
            <a:off x="11752974" y="6473952"/>
            <a:ext cx="439026" cy="155448"/>
          </a:xfrm>
          <a:prstGeom prst="rect">
            <a:avLst/>
          </a:prstGeom>
        </p:spPr>
        <p:txBody>
          <a:bodyPr vert="horz" lIns="0" tIns="0" rIns="0" bIns="0" rtlCol="0" anchor="ctr"/>
          <a:lstStyle>
            <a:lvl1pPr algn="ctr">
              <a:defRPr sz="1000">
                <a:solidFill>
                  <a:schemeClr val="bg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sp>
        <p:nvSpPr>
          <p:cNvPr id="7" name="TextBox 6"/>
          <p:cNvSpPr txBox="1"/>
          <p:nvPr userDrawn="1"/>
        </p:nvSpPr>
        <p:spPr>
          <a:xfrm>
            <a:off x="1396578" y="6473952"/>
            <a:ext cx="4115872" cy="153888"/>
          </a:xfrm>
          <a:prstGeom prst="rect">
            <a:avLst/>
          </a:prstGeom>
          <a:noFill/>
        </p:spPr>
        <p:txBody>
          <a:bodyPr wrap="square" lIns="0" tIns="0" rIns="0" bIns="0" rtlCol="0">
            <a:spAutoFit/>
          </a:bodyPr>
          <a:lstStyle/>
          <a:p>
            <a:r>
              <a:rPr lang="en-GB" sz="1000">
                <a:solidFill>
                  <a:schemeClr val="bg1"/>
                </a:solidFill>
                <a:latin typeface="Arial" pitchFamily="34" charset="0"/>
                <a:cs typeface="Arial" pitchFamily="34" charset="0"/>
              </a:rPr>
              <a:t>2025 Lenovo Internal. All rights reserved.</a:t>
            </a:r>
            <a:endParaRPr lang="en-US" sz="1000">
              <a:solidFill>
                <a:schemeClr val="bg1"/>
              </a:solidFill>
              <a:latin typeface="Arial" pitchFamily="34" charset="0"/>
              <a:cs typeface="Arial" pitchFamily="34" charset="0"/>
            </a:endParaRPr>
          </a:p>
        </p:txBody>
      </p:sp>
      <p:grpSp>
        <p:nvGrpSpPr>
          <p:cNvPr id="8" name="Group 7"/>
          <p:cNvGrpSpPr/>
          <p:nvPr userDrawn="1"/>
        </p:nvGrpSpPr>
        <p:grpSpPr>
          <a:xfrm>
            <a:off x="554487" y="6421482"/>
            <a:ext cx="734547" cy="245008"/>
            <a:chOff x="547688" y="952500"/>
            <a:chExt cx="12190413" cy="4067175"/>
          </a:xfrm>
        </p:grpSpPr>
        <p:sp>
          <p:nvSpPr>
            <p:cNvPr id="9" name="Rectangle 8"/>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6">
                <a:solidFill>
                  <a:schemeClr val="bg1"/>
                </a:solidFill>
              </a:endParaRPr>
            </a:p>
          </p:txBody>
        </p:sp>
        <p:sp>
          <p:nvSpPr>
            <p:cNvPr id="10" name="Freeform 9"/>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6">
                <a:solidFill>
                  <a:schemeClr val="bg1"/>
                </a:solidFill>
              </a:endParaRPr>
            </a:p>
          </p:txBody>
        </p:sp>
        <p:sp>
          <p:nvSpPr>
            <p:cNvPr id="13" name="Freeform 12"/>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6">
                <a:solidFill>
                  <a:schemeClr val="bg1"/>
                </a:solidFill>
              </a:endParaRPr>
            </a:p>
          </p:txBody>
        </p:sp>
        <p:sp>
          <p:nvSpPr>
            <p:cNvPr id="14" name="Freeform 13"/>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6">
                <a:solidFill>
                  <a:schemeClr val="bg1"/>
                </a:solidFill>
              </a:endParaRPr>
            </a:p>
          </p:txBody>
        </p:sp>
        <p:sp>
          <p:nvSpPr>
            <p:cNvPr id="15" name="Freeform 14"/>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6">
                <a:solidFill>
                  <a:schemeClr val="bg1"/>
                </a:solidFill>
              </a:endParaRPr>
            </a:p>
          </p:txBody>
        </p:sp>
        <p:sp>
          <p:nvSpPr>
            <p:cNvPr id="16" name="Freeform 10"/>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6">
                <a:solidFill>
                  <a:schemeClr val="bg1"/>
                </a:solidFill>
              </a:endParaRPr>
            </a:p>
          </p:txBody>
        </p:sp>
        <p:sp>
          <p:nvSpPr>
            <p:cNvPr id="17" name="Freeform 11"/>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6">
                <a:solidFill>
                  <a:schemeClr val="bg1"/>
                </a:solidFill>
              </a:endParaRPr>
            </a:p>
          </p:txBody>
        </p:sp>
      </p:grpSp>
      <p:sp>
        <p:nvSpPr>
          <p:cNvPr id="18" name="Title 28">
            <a:extLst>
              <a:ext uri="{FF2B5EF4-FFF2-40B4-BE49-F238E27FC236}">
                <a16:creationId xmlns:a16="http://schemas.microsoft.com/office/drawing/2014/main" id="{A05006CF-3DBD-4595-83B9-FFEDCDC3D9EE}"/>
              </a:ext>
            </a:extLst>
          </p:cNvPr>
          <p:cNvSpPr>
            <a:spLocks noGrp="1"/>
          </p:cNvSpPr>
          <p:nvPr>
            <p:ph type="title" hasCustomPrompt="1"/>
          </p:nvPr>
        </p:nvSpPr>
        <p:spPr bwMode="gray">
          <a:xfrm>
            <a:off x="760614" y="442528"/>
            <a:ext cx="10670780" cy="418576"/>
          </a:xfrm>
          <a:prstGeom prst="rect">
            <a:avLst/>
          </a:prstGeom>
        </p:spPr>
        <p:txBody>
          <a:bodyPr wrap="square" lIns="0" tIns="0" rIns="0" bIns="0" anchor="t" anchorCtr="0">
            <a:noAutofit/>
          </a:bodyPr>
          <a:lstStyle>
            <a:lvl1pPr marL="0" algn="l" defTabSz="1217890" rtl="0" eaLnBrk="1" latinLnBrk="0" hangingPunct="1">
              <a:lnSpc>
                <a:spcPct val="85000"/>
              </a:lnSpc>
              <a:spcBef>
                <a:spcPct val="0"/>
              </a:spcBef>
              <a:buNone/>
              <a:tabLst>
                <a:tab pos="1217890" algn="l"/>
              </a:tabLst>
              <a:defRPr lang="en-US" sz="3197"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Tree>
    <p:custDataLst>
      <p:tags r:id="rId1"/>
    </p:custDataLst>
    <p:extLst>
      <p:ext uri="{BB962C8B-B14F-4D97-AF65-F5344CB8AC3E}">
        <p14:creationId xmlns:p14="http://schemas.microsoft.com/office/powerpoint/2010/main" val="250449327"/>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2291909-854A-DE31-F7D6-E81C570FE2C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6398"/>
          <a:stretch/>
        </p:blipFill>
        <p:spPr>
          <a:xfrm>
            <a:off x="2140453" y="3"/>
            <a:ext cx="10051549" cy="6858000"/>
          </a:xfrm>
          <a:prstGeom prst="rect">
            <a:avLst/>
          </a:prstGeom>
        </p:spPr>
      </p:pic>
      <p:pic>
        <p:nvPicPr>
          <p:cNvPr id="21" name="Picture 20" descr="Background pattern&#10;&#10;Description automatically generated">
            <a:extLst>
              <a:ext uri="{FF2B5EF4-FFF2-40B4-BE49-F238E27FC236}">
                <a16:creationId xmlns:a16="http://schemas.microsoft.com/office/drawing/2014/main" id="{E505F47E-8C4B-A259-18AE-517EC24FC81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83817" y="-83814"/>
            <a:ext cx="6857999" cy="7025633"/>
          </a:xfrm>
          <a:prstGeom prst="rect">
            <a:avLst/>
          </a:prstGeom>
        </p:spPr>
      </p:pic>
      <p:sp>
        <p:nvSpPr>
          <p:cNvPr id="10" name="Title 28"/>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621" rtl="0" eaLnBrk="1" latinLnBrk="0" hangingPunct="1">
              <a:lnSpc>
                <a:spcPct val="85000"/>
              </a:lnSpc>
              <a:spcBef>
                <a:spcPct val="0"/>
              </a:spcBef>
              <a:buNone/>
              <a:tabLst>
                <a:tab pos="1218621" algn="l"/>
              </a:tabLst>
              <a:defRPr lang="en-US" sz="3199"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760611" y="1308880"/>
            <a:ext cx="10673828" cy="4787120"/>
          </a:xfrm>
          <a:prstGeom prst="rect">
            <a:avLst/>
          </a:prstGeom>
        </p:spPr>
        <p:txBody>
          <a:bodyPr lIns="0" tIns="0" rIns="0" bIns="0"/>
          <a:lstStyle>
            <a:lvl1pPr marL="171399" indent="-171399">
              <a:lnSpc>
                <a:spcPct val="90000"/>
              </a:lnSpc>
              <a:spcBef>
                <a:spcPts val="1000"/>
              </a:spcBef>
              <a:buClrTx/>
              <a:buFont typeface="Arial" panose="020B0604020202020204" pitchFamily="34" charset="0"/>
              <a:buChar char="•"/>
              <a:defRPr sz="1999">
                <a:solidFill>
                  <a:schemeClr val="bg1"/>
                </a:solidFill>
                <a:latin typeface="Arial" pitchFamily="34" charset="0"/>
                <a:cs typeface="Arial" pitchFamily="34" charset="0"/>
              </a:defRPr>
            </a:lvl1pPr>
            <a:lvl2pPr marL="609310" indent="-228491">
              <a:lnSpc>
                <a:spcPct val="90000"/>
              </a:lnSpc>
              <a:spcBef>
                <a:spcPts val="500"/>
              </a:spcBef>
              <a:buClrTx/>
              <a:buFont typeface="Arial" pitchFamily="34" charset="0"/>
              <a:buChar char="–"/>
              <a:defRPr sz="1799">
                <a:solidFill>
                  <a:schemeClr val="bg1"/>
                </a:solidFill>
                <a:latin typeface="Arial" pitchFamily="34" charset="0"/>
                <a:cs typeface="Arial" pitchFamily="34" charset="0"/>
              </a:defRPr>
            </a:lvl2pPr>
            <a:lvl3pPr marL="835687" indent="-150213">
              <a:lnSpc>
                <a:spcPct val="90000"/>
              </a:lnSpc>
              <a:spcBef>
                <a:spcPts val="500"/>
              </a:spcBef>
              <a:buClrTx/>
              <a:buFont typeface="Arial" panose="020B0604020202020204" pitchFamily="34" charset="0"/>
              <a:buChar char="-"/>
              <a:defRPr sz="1799">
                <a:solidFill>
                  <a:schemeClr val="bg1"/>
                </a:solidFill>
                <a:latin typeface="Arial" pitchFamily="34" charset="0"/>
                <a:cs typeface="Arial" pitchFamily="34" charset="0"/>
              </a:defRPr>
            </a:lvl3pPr>
            <a:lvl4pPr marL="1146689" indent="-156559">
              <a:lnSpc>
                <a:spcPct val="90000"/>
              </a:lnSpc>
              <a:spcBef>
                <a:spcPts val="500"/>
              </a:spcBef>
              <a:buClrTx/>
              <a:buFont typeface="Arial" panose="020B0604020202020204" pitchFamily="34" charset="0"/>
              <a:buChar char="-"/>
              <a:defRPr sz="1799">
                <a:solidFill>
                  <a:schemeClr val="bg1"/>
                </a:solidFill>
                <a:latin typeface="Arial" pitchFamily="34" charset="0"/>
                <a:cs typeface="Arial" pitchFamily="34" charset="0"/>
              </a:defRPr>
            </a:lvl4pPr>
            <a:lvl5pPr marL="1444997" indent="-150213">
              <a:lnSpc>
                <a:spcPct val="90000"/>
              </a:lnSpc>
              <a:spcBef>
                <a:spcPts val="500"/>
              </a:spcBef>
              <a:buClrTx/>
              <a:buFont typeface="Arial" panose="020B0604020202020204" pitchFamily="34" charset="0"/>
              <a:buChar char="-"/>
              <a:defRPr sz="1799">
                <a:solidFill>
                  <a:schemeClr val="bg1"/>
                </a:solidFill>
                <a:latin typeface="Arial" pitchFamily="34" charset="0"/>
                <a:cs typeface="Arial" pitchFamily="34" charset="0"/>
              </a:defRPr>
            </a:lvl5pPr>
            <a:lvl6pPr>
              <a:defRPr sz="2399"/>
            </a:lvl6pPr>
            <a:lvl7pPr>
              <a:defRPr sz="2399"/>
            </a:lvl7pPr>
            <a:lvl8pPr>
              <a:defRPr sz="2399"/>
            </a:lvl8pPr>
            <a:lvl9pPr>
              <a:defRPr sz="2399"/>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3">
            <a:extLst>
              <a:ext uri="{FF2B5EF4-FFF2-40B4-BE49-F238E27FC236}">
                <a16:creationId xmlns:a16="http://schemas.microsoft.com/office/drawing/2014/main" id="{2F73D3F8-B8E9-8D03-3276-B4D473331559}"/>
              </a:ext>
            </a:extLst>
          </p:cNvPr>
          <p:cNvSpPr/>
          <p:nvPr userDrawn="1"/>
        </p:nvSpPr>
        <p:spPr>
          <a:xfrm>
            <a:off x="2" y="6096000"/>
            <a:ext cx="12192000" cy="762000"/>
          </a:xfrm>
          <a:prstGeom prst="rect">
            <a:avLst/>
          </a:prstGeom>
          <a:solidFill>
            <a:srgbClr val="D9C1D8"/>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182832" rIns="182832" bIns="182832" rtlCol="0" anchor="t"/>
          <a:lstStyle/>
          <a:p>
            <a:pPr algn="l"/>
            <a:endParaRPr lang="en-US" sz="1600">
              <a:solidFill>
                <a:prstClr val="white"/>
              </a:solidFill>
            </a:endParaRPr>
          </a:p>
        </p:txBody>
      </p:sp>
      <p:sp>
        <p:nvSpPr>
          <p:cNvPr id="5" name="Slide Number Placeholder 1">
            <a:extLst>
              <a:ext uri="{FF2B5EF4-FFF2-40B4-BE49-F238E27FC236}">
                <a16:creationId xmlns:a16="http://schemas.microsoft.com/office/drawing/2014/main" id="{CADDB088-FE28-1840-1CFD-9C499009CD53}"/>
              </a:ext>
            </a:extLst>
          </p:cNvPr>
          <p:cNvSpPr>
            <a:spLocks noGrp="1"/>
          </p:cNvSpPr>
          <p:nvPr>
            <p:ph type="sldNum" sz="quarter" idx="10"/>
          </p:nvPr>
        </p:nvSpPr>
        <p:spPr>
          <a:xfrm>
            <a:off x="11672569" y="6400800"/>
            <a:ext cx="439026" cy="155448"/>
          </a:xfrm>
        </p:spPr>
        <p:txBody>
          <a:bodyPr/>
          <a:lstStyle>
            <a:lvl1pPr>
              <a:defRPr>
                <a:solidFill>
                  <a:schemeClr val="bg2"/>
                </a:solidFill>
              </a:defRPr>
            </a:lvl1pPr>
          </a:lstStyle>
          <a:p>
            <a:fld id="{6D22F896-40B5-4ADD-8801-0D06FADFA095}" type="slidenum">
              <a:rPr lang="en-US" smtClean="0"/>
              <a:pPr/>
              <a:t>‹#›</a:t>
            </a:fld>
            <a:endParaRPr lang="en-US"/>
          </a:p>
        </p:txBody>
      </p:sp>
      <p:sp>
        <p:nvSpPr>
          <p:cNvPr id="16" name="TextBox 15">
            <a:extLst>
              <a:ext uri="{FF2B5EF4-FFF2-40B4-BE49-F238E27FC236}">
                <a16:creationId xmlns:a16="http://schemas.microsoft.com/office/drawing/2014/main" id="{ACB966FE-0422-9C00-CD7F-ED47F114DF8C}"/>
              </a:ext>
            </a:extLst>
          </p:cNvPr>
          <p:cNvSpPr txBox="1"/>
          <p:nvPr userDrawn="1"/>
        </p:nvSpPr>
        <p:spPr>
          <a:xfrm>
            <a:off x="1602706" y="6401580"/>
            <a:ext cx="4115872" cy="153888"/>
          </a:xfrm>
          <a:prstGeom prst="rect">
            <a:avLst/>
          </a:prstGeom>
          <a:noFill/>
        </p:spPr>
        <p:txBody>
          <a:bodyPr wrap="square" lIns="0" tIns="0" rIns="0" bIns="0" rtlCol="0">
            <a:spAutoFit/>
          </a:bodyPr>
          <a:lstStyle/>
          <a:p>
            <a:r>
              <a:rPr lang="en-GB" sz="1000">
                <a:solidFill>
                  <a:schemeClr val="bg2"/>
                </a:solidFill>
                <a:latin typeface="Arial" pitchFamily="34" charset="0"/>
                <a:cs typeface="Arial" pitchFamily="34" charset="0"/>
              </a:rPr>
              <a:t>2025 Lenovo Internal. All rights reserved.</a:t>
            </a:r>
            <a:endParaRPr lang="en-US" sz="1000">
              <a:solidFill>
                <a:schemeClr val="bg2"/>
              </a:solidFill>
              <a:latin typeface="Arial" pitchFamily="34" charset="0"/>
              <a:cs typeface="Arial" pitchFamily="34" charset="0"/>
            </a:endParaRPr>
          </a:p>
        </p:txBody>
      </p:sp>
      <p:grpSp>
        <p:nvGrpSpPr>
          <p:cNvPr id="17" name="Group 16">
            <a:extLst>
              <a:ext uri="{FF2B5EF4-FFF2-40B4-BE49-F238E27FC236}">
                <a16:creationId xmlns:a16="http://schemas.microsoft.com/office/drawing/2014/main" id="{3D52A641-FC7E-DC4C-4FDE-29A0AED38B06}"/>
              </a:ext>
            </a:extLst>
          </p:cNvPr>
          <p:cNvGrpSpPr>
            <a:grpSpLocks noChangeAspect="1"/>
          </p:cNvGrpSpPr>
          <p:nvPr userDrawn="1"/>
        </p:nvGrpSpPr>
        <p:grpSpPr>
          <a:xfrm>
            <a:off x="760611" y="6348283"/>
            <a:ext cx="777442" cy="259316"/>
            <a:chOff x="547688" y="952500"/>
            <a:chExt cx="12190413" cy="4067175"/>
          </a:xfrm>
        </p:grpSpPr>
        <p:sp>
          <p:nvSpPr>
            <p:cNvPr id="19" name="Rectangle 18">
              <a:extLst>
                <a:ext uri="{FF2B5EF4-FFF2-40B4-BE49-F238E27FC236}">
                  <a16:creationId xmlns:a16="http://schemas.microsoft.com/office/drawing/2014/main" id="{388BF385-CED2-4FB3-D698-FD13D0E2E080}"/>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 name="Freeform 7">
              <a:extLst>
                <a:ext uri="{FF2B5EF4-FFF2-40B4-BE49-F238E27FC236}">
                  <a16:creationId xmlns:a16="http://schemas.microsoft.com/office/drawing/2014/main" id="{CEF340D3-7622-7185-C077-2BA9FF9E73EF}"/>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 name="Freeform 8">
              <a:extLst>
                <a:ext uri="{FF2B5EF4-FFF2-40B4-BE49-F238E27FC236}">
                  <a16:creationId xmlns:a16="http://schemas.microsoft.com/office/drawing/2014/main" id="{D8E03AE7-A50C-15E4-FE44-ACD46B54B45D}"/>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 name="Freeform 9">
              <a:extLst>
                <a:ext uri="{FF2B5EF4-FFF2-40B4-BE49-F238E27FC236}">
                  <a16:creationId xmlns:a16="http://schemas.microsoft.com/office/drawing/2014/main" id="{B2AEFF23-33D9-F229-CFE5-7DC52A20EEA3}"/>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 name="Freeform 10">
              <a:extLst>
                <a:ext uri="{FF2B5EF4-FFF2-40B4-BE49-F238E27FC236}">
                  <a16:creationId xmlns:a16="http://schemas.microsoft.com/office/drawing/2014/main" id="{496E4024-429F-9D47-5DBE-410B1B958A18}"/>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 name="Freeform 10">
              <a:extLst>
                <a:ext uri="{FF2B5EF4-FFF2-40B4-BE49-F238E27FC236}">
                  <a16:creationId xmlns:a16="http://schemas.microsoft.com/office/drawing/2014/main" id="{66415041-8FB4-E083-D7AD-115C0247FA51}"/>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 name="Freeform 11">
              <a:extLst>
                <a:ext uri="{FF2B5EF4-FFF2-40B4-BE49-F238E27FC236}">
                  <a16:creationId xmlns:a16="http://schemas.microsoft.com/office/drawing/2014/main" id="{553ABD73-5551-69FB-138C-35CA34AA7550}"/>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Tree>
    <p:extLst>
      <p:ext uri="{BB962C8B-B14F-4D97-AF65-F5344CB8AC3E}">
        <p14:creationId xmlns:p14="http://schemas.microsoft.com/office/powerpoint/2010/main" val="109484879"/>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760611" y="1308880"/>
            <a:ext cx="10673828" cy="4787120"/>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0BC5559F-D4D6-DA53-A720-07C2A2D68FA6}"/>
              </a:ext>
            </a:extLst>
          </p:cNvPr>
          <p:cNvSpPr>
            <a:spLocks noGrp="1"/>
          </p:cNvSpPr>
          <p:nvPr>
            <p:ph type="sldNum" sz="quarter" idx="10"/>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885470470"/>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27276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000BE-7039-95AD-3825-4DEAED9EA6C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4CFD34-9EA7-046F-C88C-75882410EEB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127221B-7C13-C944-E2FE-27A6C790BEF5}"/>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5" name="Footer Placeholder 4">
            <a:extLst>
              <a:ext uri="{FF2B5EF4-FFF2-40B4-BE49-F238E27FC236}">
                <a16:creationId xmlns:a16="http://schemas.microsoft.com/office/drawing/2014/main" id="{DC330B15-94AF-BC41-606A-A45BB725A0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EE5C6E-8269-8966-CAF3-BEC58FC643C3}"/>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54030119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0627F-A644-CDF5-108A-D2AF92C275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1CC1DD-6CAE-A4CB-9295-B0852AB420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C82513-A5AA-4A15-75D6-AAF2B1D2A5E8}"/>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5" name="Footer Placeholder 4">
            <a:extLst>
              <a:ext uri="{FF2B5EF4-FFF2-40B4-BE49-F238E27FC236}">
                <a16:creationId xmlns:a16="http://schemas.microsoft.com/office/drawing/2014/main" id="{77740433-FCC5-07E4-83AC-E090AF148A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7308DE-242D-F8ED-7AA3-56D026BC30AA}"/>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38802442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57CEE-34E3-22AB-3E28-C075A2FE4BA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243B50F-C662-4F3F-5C48-3A12724A6A0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30161D8-49D3-503E-CCE8-4FD94C0FF1D4}"/>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5" name="Footer Placeholder 4">
            <a:extLst>
              <a:ext uri="{FF2B5EF4-FFF2-40B4-BE49-F238E27FC236}">
                <a16:creationId xmlns:a16="http://schemas.microsoft.com/office/drawing/2014/main" id="{4FE08445-4E9D-403F-1A07-280804F1F6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4A4DAF-CA74-31D9-CA75-B07FC4DE4375}"/>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23908070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6B546-8111-84EB-F55A-B39DB13A07D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8752CE-6FD6-9640-0611-613A39BC43B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0FDDF9-1536-B01C-D83E-B54C5D917A5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604B46-59EF-850B-E696-428EA3626EC3}"/>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6" name="Footer Placeholder 5">
            <a:extLst>
              <a:ext uri="{FF2B5EF4-FFF2-40B4-BE49-F238E27FC236}">
                <a16:creationId xmlns:a16="http://schemas.microsoft.com/office/drawing/2014/main" id="{6232319C-A156-4859-6DC6-C7031A7E0E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A971E2-CDC9-9B8F-D7A0-0CB8184D55EF}"/>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34981287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29BEF-AB23-2937-0CCC-98E60C81B45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2468CDC-CBDE-97D0-0549-37C1506A6F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4FF2B4-888F-7975-C57F-C6BFC94EC6E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911480-AAE7-896F-3395-BA722B24BB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71503AE-9B53-0525-869B-24038298055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7825421-C470-FB3B-4901-CDA96674C3BD}"/>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8" name="Footer Placeholder 7">
            <a:extLst>
              <a:ext uri="{FF2B5EF4-FFF2-40B4-BE49-F238E27FC236}">
                <a16:creationId xmlns:a16="http://schemas.microsoft.com/office/drawing/2014/main" id="{455B5C5B-E5DF-ADF1-C12A-7625D4275C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8305CBF-BE06-02E0-63C3-67D778B70978}"/>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114269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E698E-2CA7-ED6B-C1C6-4810FBE14DA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D7D5C0D-0A77-8604-FBFB-27CFDA852F65}"/>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4" name="Footer Placeholder 3">
            <a:extLst>
              <a:ext uri="{FF2B5EF4-FFF2-40B4-BE49-F238E27FC236}">
                <a16:creationId xmlns:a16="http://schemas.microsoft.com/office/drawing/2014/main" id="{F40A35FA-C479-4B5C-FB19-6380127409C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54A4CD3-BFFB-E0C3-5B20-D4B1FC61D739}"/>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4958443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45BF29F-CD80-C7D2-778A-3087A0C39F64}"/>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3" name="Footer Placeholder 2">
            <a:extLst>
              <a:ext uri="{FF2B5EF4-FFF2-40B4-BE49-F238E27FC236}">
                <a16:creationId xmlns:a16="http://schemas.microsoft.com/office/drawing/2014/main" id="{B28966E6-F67D-0262-3329-6DCE54751B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85B3FAA-B364-32EE-68CB-91AE155BD8F8}"/>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19648342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D7F52-FA13-09B7-5E46-B7FE077CAC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0F53DCB-EF74-D23A-80E0-E8F8878B5A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D05F2F8-91BE-E506-7E20-322939F11D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AD82BA9-8D89-B4A3-F408-289107BB990B}"/>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6" name="Footer Placeholder 5">
            <a:extLst>
              <a:ext uri="{FF2B5EF4-FFF2-40B4-BE49-F238E27FC236}">
                <a16:creationId xmlns:a16="http://schemas.microsoft.com/office/drawing/2014/main" id="{458003C1-4702-DF27-3EB3-7FE9BA32DA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3A979F-A46A-3068-079B-1AE7606DA654}"/>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5854061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0F830-8663-D7EC-D72B-39C309BA004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B0EC52-63DF-B59F-68F2-17409215F61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17BD3BC-A7FA-6CC7-7501-796E731D8C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1327D4-5E48-48EA-B5EE-6D37AC9C77B1}"/>
              </a:ext>
            </a:extLst>
          </p:cNvPr>
          <p:cNvSpPr>
            <a:spLocks noGrp="1"/>
          </p:cNvSpPr>
          <p:nvPr>
            <p:ph type="dt" sz="half" idx="10"/>
          </p:nvPr>
        </p:nvSpPr>
        <p:spPr/>
        <p:txBody>
          <a:bodyPr/>
          <a:lstStyle/>
          <a:p>
            <a:fld id="{47352666-D789-4A5C-A819-E499744EC2F1}" type="datetimeFigureOut">
              <a:rPr lang="en-US" smtClean="0"/>
              <a:t>6/9/2026</a:t>
            </a:fld>
            <a:endParaRPr lang="en-US"/>
          </a:p>
        </p:txBody>
      </p:sp>
      <p:sp>
        <p:nvSpPr>
          <p:cNvPr id="6" name="Footer Placeholder 5">
            <a:extLst>
              <a:ext uri="{FF2B5EF4-FFF2-40B4-BE49-F238E27FC236}">
                <a16:creationId xmlns:a16="http://schemas.microsoft.com/office/drawing/2014/main" id="{F112E1F9-3B4D-DB15-2DD0-8BA1EBC951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298C34-1276-260C-8EFB-9BD7A07D4DEF}"/>
              </a:ext>
            </a:extLst>
          </p:cNvPr>
          <p:cNvSpPr>
            <a:spLocks noGrp="1"/>
          </p:cNvSpPr>
          <p:nvPr>
            <p:ph type="sldNum" sz="quarter" idx="12"/>
          </p:nvPr>
        </p:nvSpPr>
        <p:spPr/>
        <p:txBody>
          <a:bodyPr/>
          <a:lstStyle/>
          <a:p>
            <a:fld id="{CA19D6E0-52EA-4EC9-9C99-8623A1BC7210}" type="slidenum">
              <a:rPr lang="en-US" smtClean="0"/>
              <a:t>‹#›</a:t>
            </a:fld>
            <a:endParaRPr lang="en-US"/>
          </a:p>
        </p:txBody>
      </p:sp>
    </p:spTree>
    <p:extLst>
      <p:ext uri="{BB962C8B-B14F-4D97-AF65-F5344CB8AC3E}">
        <p14:creationId xmlns:p14="http://schemas.microsoft.com/office/powerpoint/2010/main" val="721646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3.xml"/><Relationship Id="rId1" Type="http://schemas.openxmlformats.org/officeDocument/2006/relationships/slideLayout" Target="../slideLayouts/slideLayout4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slideLayout" Target="../slideLayouts/slideLayout89.xml"/><Relationship Id="rId50" Type="http://schemas.openxmlformats.org/officeDocument/2006/relationships/tags" Target="../tags/tag2.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slideLayout" Target="../slideLayouts/slideLayout87.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theme" Target="../theme/theme4.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slideLayout" Target="../slideLayouts/slideLayout86.xml"/><Relationship Id="rId52" Type="http://schemas.openxmlformats.org/officeDocument/2006/relationships/image" Target="../media/image3.emf"/><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slideLayout" Target="../slideLayouts/slideLayout90.xml"/><Relationship Id="rId8" Type="http://schemas.openxmlformats.org/officeDocument/2006/relationships/slideLayout" Target="../slideLayouts/slideLayout50.xml"/><Relationship Id="rId51" Type="http://schemas.openxmlformats.org/officeDocument/2006/relationships/oleObject" Target="../embeddings/oleObject2.bin"/><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slideLayout" Target="../slideLayouts/slideLayout88.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5.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image" Target="../media/image24.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oleObject" Target="../embeddings/oleObject5.bin"/><Relationship Id="rId2" Type="http://schemas.openxmlformats.org/officeDocument/2006/relationships/slideLayout" Target="../slideLayouts/slideLayout130.xml"/><Relationship Id="rId16" Type="http://schemas.openxmlformats.org/officeDocument/2006/relationships/tags" Target="../tags/tag6.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theme" Target="../theme/theme7.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1672569" y="6400800"/>
            <a:ext cx="439026"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13510402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spd="med"/>
  <p:hf hdr="0" ft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7E8C7C-8DEE-852B-78FF-0CC142A6B0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33DD-DBA2-881B-555C-0662C88B5F9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9ACC6A-F7A1-F085-8BE9-52A7E24EF6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CEA2D40-7651-40E6-9791-6CDAC4D737EA}" type="datetimeFigureOut">
              <a:rPr lang="en-US" smtClean="0"/>
              <a:t>6/9/2026</a:t>
            </a:fld>
            <a:endParaRPr lang="en-US"/>
          </a:p>
        </p:txBody>
      </p:sp>
      <p:sp>
        <p:nvSpPr>
          <p:cNvPr id="5" name="Footer Placeholder 4">
            <a:extLst>
              <a:ext uri="{FF2B5EF4-FFF2-40B4-BE49-F238E27FC236}">
                <a16:creationId xmlns:a16="http://schemas.microsoft.com/office/drawing/2014/main" id="{8BAC4391-D5A7-352C-553E-E64D87482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B026509-D2C4-2147-FDCF-96442BF156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B14A0B0-BBC1-4982-86E4-78A91C0DF950}" type="slidenum">
              <a:rPr lang="en-US" smtClean="0"/>
              <a:t>‹#›</a:t>
            </a:fld>
            <a:endParaRPr lang="en-US"/>
          </a:p>
        </p:txBody>
      </p:sp>
    </p:spTree>
    <p:extLst>
      <p:ext uri="{BB962C8B-B14F-4D97-AF65-F5344CB8AC3E}">
        <p14:creationId xmlns:p14="http://schemas.microsoft.com/office/powerpoint/2010/main" val="41579368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1672569" y="6406738"/>
            <a:ext cx="439026"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a:p>
        </p:txBody>
      </p:sp>
      <p:graphicFrame>
        <p:nvGraphicFramePr>
          <p:cNvPr id="2" name="think-cell data - do not delete" hidden="1">
            <a:extLst>
              <a:ext uri="{FF2B5EF4-FFF2-40B4-BE49-F238E27FC236}">
                <a16:creationId xmlns:a16="http://schemas.microsoft.com/office/drawing/2014/main" id="{817BF0EE-099E-5846-9B3B-01B0F4B86020}"/>
              </a:ext>
            </a:extLst>
          </p:cNvPr>
          <p:cNvGraphicFramePr>
            <a:graphicFrameLocks noChangeAspect="1"/>
          </p:cNvGraphicFramePr>
          <p:nvPr userDrawn="1">
            <p:custDataLst>
              <p:tags r:id="rId3"/>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817BF0EE-099E-5846-9B3B-01B0F4B86020}"/>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4E941767-9F18-97EC-2F91-40509FB98CB6}"/>
              </a:ext>
            </a:extLst>
          </p:cNvPr>
          <p:cNvSpPr txBox="1"/>
          <p:nvPr userDrawn="1"/>
        </p:nvSpPr>
        <p:spPr>
          <a:xfrm>
            <a:off x="1602706" y="6401580"/>
            <a:ext cx="4115872" cy="153888"/>
          </a:xfrm>
          <a:prstGeom prst="rect">
            <a:avLst/>
          </a:prstGeom>
          <a:noFill/>
        </p:spPr>
        <p:txBody>
          <a:bodyPr wrap="square" lIns="0" tIns="0" rIns="0" bIns="0" rtlCol="0">
            <a:spAutoFit/>
          </a:bodyPr>
          <a:lstStyle/>
          <a:p>
            <a:r>
              <a:rPr lang="en-US" sz="1000">
                <a:latin typeface="Arial" pitchFamily="34" charset="0"/>
                <a:cs typeface="Arial" pitchFamily="34" charset="0"/>
              </a:rPr>
              <a:t>2026 Lenovo Internal. All rights reserved.</a:t>
            </a:r>
          </a:p>
        </p:txBody>
      </p:sp>
      <p:grpSp>
        <p:nvGrpSpPr>
          <p:cNvPr id="5" name="Group 4">
            <a:extLst>
              <a:ext uri="{FF2B5EF4-FFF2-40B4-BE49-F238E27FC236}">
                <a16:creationId xmlns:a16="http://schemas.microsoft.com/office/drawing/2014/main" id="{4FF5BCFA-34D3-9995-1CDC-7DD275C67506}"/>
              </a:ext>
            </a:extLst>
          </p:cNvPr>
          <p:cNvGrpSpPr>
            <a:grpSpLocks noChangeAspect="1"/>
          </p:cNvGrpSpPr>
          <p:nvPr userDrawn="1"/>
        </p:nvGrpSpPr>
        <p:grpSpPr>
          <a:xfrm>
            <a:off x="760611" y="6348283"/>
            <a:ext cx="777442" cy="259316"/>
            <a:chOff x="547688" y="952500"/>
            <a:chExt cx="12190413" cy="4067175"/>
          </a:xfrm>
        </p:grpSpPr>
        <p:sp>
          <p:nvSpPr>
            <p:cNvPr id="6" name="Rectangle 5">
              <a:extLst>
                <a:ext uri="{FF2B5EF4-FFF2-40B4-BE49-F238E27FC236}">
                  <a16:creationId xmlns:a16="http://schemas.microsoft.com/office/drawing/2014/main" id="{52D519DE-6E45-C731-0539-E42C305F9960}"/>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Freeform 7">
              <a:extLst>
                <a:ext uri="{FF2B5EF4-FFF2-40B4-BE49-F238E27FC236}">
                  <a16:creationId xmlns:a16="http://schemas.microsoft.com/office/drawing/2014/main" id="{03D4B667-2821-CD92-FE5A-0A438F008BF8}"/>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 name="Freeform 8">
              <a:extLst>
                <a:ext uri="{FF2B5EF4-FFF2-40B4-BE49-F238E27FC236}">
                  <a16:creationId xmlns:a16="http://schemas.microsoft.com/office/drawing/2014/main" id="{5DCF1257-F36E-B3A3-C17D-AC23807A1689}"/>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9">
              <a:extLst>
                <a:ext uri="{FF2B5EF4-FFF2-40B4-BE49-F238E27FC236}">
                  <a16:creationId xmlns:a16="http://schemas.microsoft.com/office/drawing/2014/main" id="{1A055BBF-00CF-B932-DB34-B6BECA45E667}"/>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10">
              <a:extLst>
                <a:ext uri="{FF2B5EF4-FFF2-40B4-BE49-F238E27FC236}">
                  <a16:creationId xmlns:a16="http://schemas.microsoft.com/office/drawing/2014/main" id="{3DE9884A-42CE-4B36-D918-B7A9158606D8}"/>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10">
              <a:extLst>
                <a:ext uri="{FF2B5EF4-FFF2-40B4-BE49-F238E27FC236}">
                  <a16:creationId xmlns:a16="http://schemas.microsoft.com/office/drawing/2014/main" id="{764ADF50-5157-54A8-7202-9AC51C031390}"/>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1">
              <a:extLst>
                <a:ext uri="{FF2B5EF4-FFF2-40B4-BE49-F238E27FC236}">
                  <a16:creationId xmlns:a16="http://schemas.microsoft.com/office/drawing/2014/main" id="{8A2597D5-8572-829D-D260-A9744370C0FA}"/>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56719347"/>
      </p:ext>
    </p:extLst>
  </p:cSld>
  <p:clrMap bg1="lt1" tx1="dk1" bg2="lt2" tx2="dk2" accent1="accent1" accent2="accent2" accent3="accent3" accent4="accent4" accent5="accent5" accent6="accent6" hlink="hlink" folHlink="folHlink"/>
  <p:sldLayoutIdLst>
    <p:sldLayoutId id="2147483705" r:id="rId1"/>
  </p:sldLayoutIdLst>
  <p:transition spd="med"/>
  <p:hf hd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rgbClr val="391262">
                <a:lumMod val="100000"/>
              </a:srgbClr>
            </a:gs>
            <a:gs pos="42000">
              <a:srgbClr val="4D144A">
                <a:lumMod val="96000"/>
              </a:srgbClr>
            </a:gs>
          </a:gsLst>
          <a:lin ang="135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789059C-0B2A-BDCF-7B2A-48354274FE1B}"/>
              </a:ext>
            </a:extLst>
          </p:cNvPr>
          <p:cNvGraphicFramePr>
            <a:graphicFrameLocks noChangeAspect="1"/>
          </p:cNvGraphicFramePr>
          <p:nvPr userDrawn="1">
            <p:custDataLst>
              <p:tags r:id="rId50"/>
            </p:custDataLst>
            <p:extLst>
              <p:ext uri="{D42A27DB-BD31-4B8C-83A1-F6EECF244321}">
                <p14:modId xmlns:p14="http://schemas.microsoft.com/office/powerpoint/2010/main" val="113936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51" imgH="351" progId="TCLayout.ActiveDocument.1">
                  <p:embed/>
                </p:oleObj>
              </mc:Choice>
              <mc:Fallback>
                <p:oleObj name="think-cell Slide" r:id="rId51" imgW="351" imgH="351" progId="TCLayout.ActiveDocument.1">
                  <p:embed/>
                  <p:pic>
                    <p:nvPicPr>
                      <p:cNvPr id="2" name="think-cell data - do not delete" hidden="1">
                        <a:extLst>
                          <a:ext uri="{FF2B5EF4-FFF2-40B4-BE49-F238E27FC236}">
                            <a16:creationId xmlns:a16="http://schemas.microsoft.com/office/drawing/2014/main" id="{5789059C-0B2A-BDCF-7B2A-48354274FE1B}"/>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685B1622-F5A8-7611-E2C0-364F67000740}"/>
              </a:ext>
            </a:extLst>
          </p:cNvPr>
          <p:cNvSpPr txBox="1"/>
          <p:nvPr userDrawn="1"/>
        </p:nvSpPr>
        <p:spPr>
          <a:xfrm>
            <a:off x="1554068" y="6459946"/>
            <a:ext cx="4115872" cy="153888"/>
          </a:xfrm>
          <a:prstGeom prst="rect">
            <a:avLst/>
          </a:prstGeom>
          <a:noFill/>
        </p:spPr>
        <p:txBody>
          <a:bodyPr wrap="square" lIns="0" tIns="0" rIns="0" bIns="0" rtlCol="0">
            <a:spAutoFit/>
          </a:bodyPr>
          <a:lstStyle/>
          <a:p>
            <a:r>
              <a:rPr lang="en-GB" sz="1000">
                <a:solidFill>
                  <a:schemeClr val="bg1"/>
                </a:solidFill>
                <a:latin typeface="Arial" pitchFamily="34" charset="0"/>
                <a:cs typeface="Arial" pitchFamily="34" charset="0"/>
              </a:rPr>
              <a:t>2025 Lenovo Internal. All rights reserved.</a:t>
            </a:r>
            <a:endParaRPr lang="en-US" sz="1000">
              <a:solidFill>
                <a:schemeClr val="bg1"/>
              </a:solidFill>
              <a:latin typeface="Arial" pitchFamily="34" charset="0"/>
              <a:cs typeface="Arial" pitchFamily="34" charset="0"/>
            </a:endParaRPr>
          </a:p>
        </p:txBody>
      </p:sp>
      <p:grpSp>
        <p:nvGrpSpPr>
          <p:cNvPr id="4" name="Group 3">
            <a:extLst>
              <a:ext uri="{FF2B5EF4-FFF2-40B4-BE49-F238E27FC236}">
                <a16:creationId xmlns:a16="http://schemas.microsoft.com/office/drawing/2014/main" id="{C5AEA385-3725-82B7-0B78-6633E703A239}"/>
              </a:ext>
            </a:extLst>
          </p:cNvPr>
          <p:cNvGrpSpPr>
            <a:grpSpLocks noChangeAspect="1"/>
          </p:cNvGrpSpPr>
          <p:nvPr userDrawn="1"/>
        </p:nvGrpSpPr>
        <p:grpSpPr>
          <a:xfrm>
            <a:off x="711973" y="6406649"/>
            <a:ext cx="777442" cy="259316"/>
            <a:chOff x="547688" y="952500"/>
            <a:chExt cx="12190413" cy="4067175"/>
          </a:xfrm>
        </p:grpSpPr>
        <p:sp>
          <p:nvSpPr>
            <p:cNvPr id="5" name="Rectangle 4">
              <a:extLst>
                <a:ext uri="{FF2B5EF4-FFF2-40B4-BE49-F238E27FC236}">
                  <a16:creationId xmlns:a16="http://schemas.microsoft.com/office/drawing/2014/main" id="{149419E2-8707-7BF0-A183-37564973C62C}"/>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6" name="Freeform 7">
              <a:extLst>
                <a:ext uri="{FF2B5EF4-FFF2-40B4-BE49-F238E27FC236}">
                  <a16:creationId xmlns:a16="http://schemas.microsoft.com/office/drawing/2014/main" id="{88E5628B-9718-09CC-AAAC-9C751F3D15ED}"/>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7" name="Freeform 8">
              <a:extLst>
                <a:ext uri="{FF2B5EF4-FFF2-40B4-BE49-F238E27FC236}">
                  <a16:creationId xmlns:a16="http://schemas.microsoft.com/office/drawing/2014/main" id="{F792BC9D-740A-9E56-8F7E-E36D217CC3B9}"/>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8" name="Freeform 9">
              <a:extLst>
                <a:ext uri="{FF2B5EF4-FFF2-40B4-BE49-F238E27FC236}">
                  <a16:creationId xmlns:a16="http://schemas.microsoft.com/office/drawing/2014/main" id="{635E1D98-CA0F-EFE4-BD4D-78614AF725CF}"/>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9" name="Freeform 10">
              <a:extLst>
                <a:ext uri="{FF2B5EF4-FFF2-40B4-BE49-F238E27FC236}">
                  <a16:creationId xmlns:a16="http://schemas.microsoft.com/office/drawing/2014/main" id="{CC4BEE45-D114-8D1E-51F2-DF55ED17479E}"/>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0" name="Freeform 10">
              <a:extLst>
                <a:ext uri="{FF2B5EF4-FFF2-40B4-BE49-F238E27FC236}">
                  <a16:creationId xmlns:a16="http://schemas.microsoft.com/office/drawing/2014/main" id="{167AEC28-DF4F-FF65-9EFB-9E5F13882FE7}"/>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1" name="Freeform 11">
              <a:extLst>
                <a:ext uri="{FF2B5EF4-FFF2-40B4-BE49-F238E27FC236}">
                  <a16:creationId xmlns:a16="http://schemas.microsoft.com/office/drawing/2014/main" id="{B24F123B-8E1E-2C0B-1455-23376CE009CF}"/>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grpSp>
    </p:spTree>
    <p:extLst>
      <p:ext uri="{BB962C8B-B14F-4D97-AF65-F5344CB8AC3E}">
        <p14:creationId xmlns:p14="http://schemas.microsoft.com/office/powerpoint/2010/main" val="339179130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 id="2147483740" r:id="rId33"/>
    <p:sldLayoutId id="2147483741" r:id="rId34"/>
    <p:sldLayoutId id="2147483742" r:id="rId35"/>
    <p:sldLayoutId id="2147483743" r:id="rId36"/>
    <p:sldLayoutId id="2147483744" r:id="rId37"/>
    <p:sldLayoutId id="2147483745" r:id="rId38"/>
    <p:sldLayoutId id="2147483746" r:id="rId39"/>
    <p:sldLayoutId id="2147483747" r:id="rId40"/>
    <p:sldLayoutId id="2147483748" r:id="rId41"/>
    <p:sldLayoutId id="2147483749" r:id="rId42"/>
    <p:sldLayoutId id="2147483750" r:id="rId43"/>
    <p:sldLayoutId id="2147483751" r:id="rId44"/>
    <p:sldLayoutId id="2147483752" r:id="rId45"/>
    <p:sldLayoutId id="2147483753" r:id="rId46"/>
    <p:sldLayoutId id="2147483754" r:id="rId47"/>
    <p:sldLayoutId id="2147483755" r:id="rId48"/>
  </p:sldLayoutIdLst>
  <p:transition spd="med"/>
  <p:hf hdr="0" ft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EB7FCA-6CAB-1640-B26D-DA403502D9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1E7AC22-EB71-1A09-6BE5-61028752095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D32289-B861-9C89-AFBA-C5A2DCAEF3F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7352666-D789-4A5C-A819-E499744EC2F1}" type="datetimeFigureOut">
              <a:rPr lang="en-US" smtClean="0"/>
              <a:t>6/9/2026</a:t>
            </a:fld>
            <a:endParaRPr lang="en-US"/>
          </a:p>
        </p:txBody>
      </p:sp>
      <p:sp>
        <p:nvSpPr>
          <p:cNvPr id="5" name="Footer Placeholder 4">
            <a:extLst>
              <a:ext uri="{FF2B5EF4-FFF2-40B4-BE49-F238E27FC236}">
                <a16:creationId xmlns:a16="http://schemas.microsoft.com/office/drawing/2014/main" id="{4B792782-283B-A296-65AE-45B81A4D3C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188328D-864E-7611-3F42-4C053EA8801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A19D6E0-52EA-4EC9-9C99-8623A1BC7210}" type="slidenum">
              <a:rPr lang="en-US" smtClean="0"/>
              <a:t>‹#›</a:t>
            </a:fld>
            <a:endParaRPr lang="en-US"/>
          </a:p>
        </p:txBody>
      </p:sp>
    </p:spTree>
    <p:extLst>
      <p:ext uri="{BB962C8B-B14F-4D97-AF65-F5344CB8AC3E}">
        <p14:creationId xmlns:p14="http://schemas.microsoft.com/office/powerpoint/2010/main" val="295592943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6F9DD65-CF77-3600-BC19-EFC484DE0E5D}"/>
              </a:ext>
              <a:ext uri="{C183D7F6-B498-43B3-948B-1728B52AA6E4}">
                <adec:decorative xmlns:adec="http://schemas.microsoft.com/office/drawing/2017/decorative" val="1"/>
              </a:ext>
            </a:extLst>
          </p:cNvPr>
          <p:cNvGrpSpPr/>
          <p:nvPr userDrawn="1"/>
        </p:nvGrpSpPr>
        <p:grpSpPr>
          <a:xfrm>
            <a:off x="760611" y="6348283"/>
            <a:ext cx="3394460" cy="259316"/>
            <a:chOff x="760413" y="6348283"/>
            <a:chExt cx="3393576" cy="259316"/>
          </a:xfrm>
        </p:grpSpPr>
        <p:sp>
          <p:nvSpPr>
            <p:cNvPr id="8" name="TextBox 7">
              <a:extLst>
                <a:ext uri="{FF2B5EF4-FFF2-40B4-BE49-F238E27FC236}">
                  <a16:creationId xmlns:a16="http://schemas.microsoft.com/office/drawing/2014/main" id="{3B7093EF-5BE5-48D1-E55D-F42D6F848CAF}"/>
                </a:ext>
              </a:extLst>
            </p:cNvPr>
            <p:cNvSpPr txBox="1"/>
            <p:nvPr/>
          </p:nvSpPr>
          <p:spPr>
            <a:xfrm>
              <a:off x="1602289" y="6401580"/>
              <a:ext cx="2551700" cy="138499"/>
            </a:xfrm>
            <a:prstGeom prst="rect">
              <a:avLst/>
            </a:prstGeom>
            <a:noFill/>
          </p:spPr>
          <p:txBody>
            <a:bodyPr wrap="square" lIns="0" tIns="0" rIns="0" bIns="0" rtlCol="0">
              <a:spAutoFit/>
            </a:bodyPr>
            <a:lstStyle/>
            <a:p>
              <a:r>
                <a:rPr lang="en-US" sz="900">
                  <a:solidFill>
                    <a:schemeClr val="tx1"/>
                  </a:solidFill>
                  <a:latin typeface="Arial" pitchFamily="34" charset="0"/>
                  <a:cs typeface="Arial" pitchFamily="34" charset="0"/>
                </a:rPr>
                <a:t>2025 Lenovo internal. All rights reserved.</a:t>
              </a:r>
            </a:p>
          </p:txBody>
        </p:sp>
        <p:grpSp>
          <p:nvGrpSpPr>
            <p:cNvPr id="9" name="Group 8">
              <a:extLst>
                <a:ext uri="{FF2B5EF4-FFF2-40B4-BE49-F238E27FC236}">
                  <a16:creationId xmlns:a16="http://schemas.microsoft.com/office/drawing/2014/main" id="{7AC71808-51BF-5697-5341-2BCF2FC344C0}"/>
                </a:ext>
              </a:extLst>
            </p:cNvPr>
            <p:cNvGrpSpPr>
              <a:grpSpLocks noChangeAspect="1"/>
            </p:cNvGrpSpPr>
            <p:nvPr/>
          </p:nvGrpSpPr>
          <p:grpSpPr>
            <a:xfrm>
              <a:off x="760413" y="6348283"/>
              <a:ext cx="777240" cy="259316"/>
              <a:chOff x="547688" y="952500"/>
              <a:chExt cx="12190413" cy="4067175"/>
            </a:xfrm>
          </p:grpSpPr>
          <p:sp>
            <p:nvSpPr>
              <p:cNvPr id="10" name="Rectangle 9">
                <a:extLst>
                  <a:ext uri="{FF2B5EF4-FFF2-40B4-BE49-F238E27FC236}">
                    <a16:creationId xmlns:a16="http://schemas.microsoft.com/office/drawing/2014/main" id="{2DBCE0F2-F549-D082-371F-20739B3EF11F}"/>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7">
                <a:extLst>
                  <a:ext uri="{FF2B5EF4-FFF2-40B4-BE49-F238E27FC236}">
                    <a16:creationId xmlns:a16="http://schemas.microsoft.com/office/drawing/2014/main" id="{D2053A00-964C-B282-17B6-4D49ED8940A8}"/>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8">
                <a:extLst>
                  <a:ext uri="{FF2B5EF4-FFF2-40B4-BE49-F238E27FC236}">
                    <a16:creationId xmlns:a16="http://schemas.microsoft.com/office/drawing/2014/main" id="{43C09F41-D080-9068-901E-063121BA6072}"/>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9">
                <a:extLst>
                  <a:ext uri="{FF2B5EF4-FFF2-40B4-BE49-F238E27FC236}">
                    <a16:creationId xmlns:a16="http://schemas.microsoft.com/office/drawing/2014/main" id="{CF4165EF-CBF6-30C9-92E3-7DCBC029C20A}"/>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0">
                <a:extLst>
                  <a:ext uri="{FF2B5EF4-FFF2-40B4-BE49-F238E27FC236}">
                    <a16:creationId xmlns:a16="http://schemas.microsoft.com/office/drawing/2014/main" id="{99DEA9DF-8946-B83C-CB99-BD99FCBAC224}"/>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0">
                <a:extLst>
                  <a:ext uri="{FF2B5EF4-FFF2-40B4-BE49-F238E27FC236}">
                    <a16:creationId xmlns:a16="http://schemas.microsoft.com/office/drawing/2014/main" id="{E6A63A7B-33B9-6C68-FA7D-E83293C38121}"/>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1">
                <a:extLst>
                  <a:ext uri="{FF2B5EF4-FFF2-40B4-BE49-F238E27FC236}">
                    <a16:creationId xmlns:a16="http://schemas.microsoft.com/office/drawing/2014/main" id="{00325446-6A00-873E-1612-5C798C74D6D0}"/>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
        <p:nvSpPr>
          <p:cNvPr id="17" name="Slide Number Placeholder 3">
            <a:extLst>
              <a:ext uri="{FF2B5EF4-FFF2-40B4-BE49-F238E27FC236}">
                <a16:creationId xmlns:a16="http://schemas.microsoft.com/office/drawing/2014/main" id="{708EA072-2BD6-B123-9BDE-DCBDD2AEF400}"/>
              </a:ext>
            </a:extLst>
          </p:cNvPr>
          <p:cNvSpPr>
            <a:spLocks noGrp="1"/>
          </p:cNvSpPr>
          <p:nvPr>
            <p:ph type="sldNum" sz="quarter" idx="4"/>
          </p:nvPr>
        </p:nvSpPr>
        <p:spPr>
          <a:xfrm>
            <a:off x="11672569" y="6388100"/>
            <a:ext cx="439026" cy="155448"/>
          </a:xfrm>
          <a:prstGeom prst="rect">
            <a:avLst/>
          </a:prstGeom>
        </p:spPr>
        <p:txBody>
          <a:bodyPr vert="horz" lIns="0" tIns="0" rIns="0" bIns="0" rtlCol="0" anchor="ctr"/>
          <a:lstStyle>
            <a:defPPr>
              <a:defRPr lang="en-US"/>
            </a:defPPr>
            <a:lvl1pPr marL="0" algn="ctr" defTabSz="1218987"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D22F896-40B5-4ADD-8801-0D06FADFA095}" type="slidenum">
              <a:rPr lang="en-US" smtClean="0"/>
              <a:pPr/>
              <a:t>‹#›</a:t>
            </a:fld>
            <a:endParaRPr lang="en-US"/>
          </a:p>
        </p:txBody>
      </p:sp>
      <p:sp>
        <p:nvSpPr>
          <p:cNvPr id="2" name="TextBox 1">
            <a:extLst>
              <a:ext uri="{FF2B5EF4-FFF2-40B4-BE49-F238E27FC236}">
                <a16:creationId xmlns:a16="http://schemas.microsoft.com/office/drawing/2014/main" id="{CF3EAB00-8FA0-3581-03E4-B2E5A5CAB5F1}"/>
              </a:ext>
            </a:extLst>
          </p:cNvPr>
          <p:cNvSpPr txBox="1"/>
          <p:nvPr userDrawn="1"/>
        </p:nvSpPr>
        <p:spPr>
          <a:xfrm>
            <a:off x="9622497" y="6360568"/>
            <a:ext cx="1919240" cy="230832"/>
          </a:xfrm>
          <a:prstGeom prst="rect">
            <a:avLst/>
          </a:prstGeom>
          <a:noFill/>
        </p:spPr>
        <p:txBody>
          <a:bodyPr wrap="square" rtlCol="0">
            <a:spAutoFit/>
          </a:bodyPr>
          <a:lstStyle/>
          <a:p>
            <a:pPr algn="r"/>
            <a:r>
              <a:rPr lang="en-US" sz="900">
                <a:solidFill>
                  <a:schemeClr val="tx1"/>
                </a:solidFill>
                <a:latin typeface="Arial" panose="020B0604020202020204" pitchFamily="34" charset="0"/>
                <a:cs typeface="Arial" panose="020B0604020202020204" pitchFamily="34" charset="0"/>
              </a:rPr>
              <a:t>FOR INTERNAL USE ONLY</a:t>
            </a:r>
          </a:p>
        </p:txBody>
      </p:sp>
    </p:spTree>
    <p:extLst>
      <p:ext uri="{BB962C8B-B14F-4D97-AF65-F5344CB8AC3E}">
        <p14:creationId xmlns:p14="http://schemas.microsoft.com/office/powerpoint/2010/main" val="1478159100"/>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spd="med"/>
  <p:hf hdr="0" ft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E1F1E12-A186-97E9-6999-0FC9331ECA97}"/>
              </a:ext>
            </a:extLst>
          </p:cNvPr>
          <p:cNvGraphicFramePr>
            <a:graphicFrameLocks noChangeAspect="1"/>
          </p:cNvGraphicFramePr>
          <p:nvPr userDrawn="1">
            <p:custDataLst>
              <p:tags r:id="rId16"/>
            </p:custDataLst>
            <p:extLst>
              <p:ext uri="{D42A27DB-BD31-4B8C-83A1-F6EECF244321}">
                <p14:modId xmlns:p14="http://schemas.microsoft.com/office/powerpoint/2010/main" val="127765276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7" imgW="425" imgH="426" progId="TCLayout.ActiveDocument.1">
                  <p:embed/>
                </p:oleObj>
              </mc:Choice>
              <mc:Fallback>
                <p:oleObj name="think-cell Slide" r:id="rId17" imgW="425" imgH="426" progId="TCLayout.ActiveDocument.1">
                  <p:embed/>
                  <p:pic>
                    <p:nvPicPr>
                      <p:cNvPr id="8" name="think-cell data - do not delete" hidden="1">
                        <a:extLst>
                          <a:ext uri="{FF2B5EF4-FFF2-40B4-BE49-F238E27FC236}">
                            <a16:creationId xmlns:a16="http://schemas.microsoft.com/office/drawing/2014/main" id="{FE1F1E12-A186-97E9-6999-0FC9331ECA97}"/>
                          </a:ext>
                        </a:extLst>
                      </p:cNvPr>
                      <p:cNvPicPr/>
                      <p:nvPr/>
                    </p:nvPicPr>
                    <p:blipFill>
                      <a:blip r:embed="rId18"/>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872930-B002-0B6C-11ED-1A1B509E2CEA}"/>
              </a:ext>
            </a:extLst>
          </p:cNvPr>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47E888-B644-CE18-53BF-B5A7CEFE32D3}"/>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BD12E9-3CE1-718B-AB00-F4272F22C3BD}"/>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0D89B94-D13F-46B5-8211-1DCA1560C4B0}" type="datetimeFigureOut">
              <a:rPr lang="en-US" smtClean="0"/>
              <a:t>6/9/2026</a:t>
            </a:fld>
            <a:endParaRPr lang="en-US"/>
          </a:p>
        </p:txBody>
      </p:sp>
      <p:sp>
        <p:nvSpPr>
          <p:cNvPr id="5" name="Footer Placeholder 4">
            <a:extLst>
              <a:ext uri="{FF2B5EF4-FFF2-40B4-BE49-F238E27FC236}">
                <a16:creationId xmlns:a16="http://schemas.microsoft.com/office/drawing/2014/main" id="{04D10382-FFF4-AD1C-6390-796DA2331644}"/>
              </a:ext>
            </a:extLst>
          </p:cNvPr>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4680EA0-182E-B5A9-8B92-A3B7EFD1355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0EB7D4A-C7FE-4609-802E-FF89515C219A}" type="slidenum">
              <a:rPr lang="en-US" smtClean="0"/>
              <a:t>‹#›</a:t>
            </a:fld>
            <a:endParaRPr lang="en-US"/>
          </a:p>
        </p:txBody>
      </p:sp>
    </p:spTree>
    <p:extLst>
      <p:ext uri="{BB962C8B-B14F-4D97-AF65-F5344CB8AC3E}">
        <p14:creationId xmlns:p14="http://schemas.microsoft.com/office/powerpoint/2010/main" val="238725430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102.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microsoft.com/office/2018/10/relationships/comments" Target="../comments/modernComment_116_43D76CF8.xml"/><Relationship Id="rId1" Type="http://schemas.openxmlformats.org/officeDocument/2006/relationships/slideLayout" Target="../slideLayouts/slideLayout47.xml"/><Relationship Id="rId5" Type="http://schemas.openxmlformats.org/officeDocument/2006/relationships/image" Target="../media/image50.png"/><Relationship Id="rId4" Type="http://schemas.openxmlformats.org/officeDocument/2006/relationships/image" Target="../media/image49.png"/></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lenovo.sharepoint.com/:x:/s/S4DiscoveryProject/IQCsXUg1jQiSRZ7_SsUPO2m0AdYJqk8EMYUtxoiYjH6J8PQ?e=YLqhKy" TargetMode="Externa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08.xml"/></Relationships>
</file>

<file path=ppt/slides/_rels/slide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sv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33.svg"/><Relationship Id="rId7" Type="http://schemas.openxmlformats.org/officeDocument/2006/relationships/image" Target="../media/image36.svg"/><Relationship Id="rId2" Type="http://schemas.openxmlformats.org/officeDocument/2006/relationships/image" Target="../media/image30.svg"/><Relationship Id="rId1" Type="http://schemas.openxmlformats.org/officeDocument/2006/relationships/slideLayout" Target="../slideLayouts/slideLayout7.xml"/><Relationship Id="rId6" Type="http://schemas.openxmlformats.org/officeDocument/2006/relationships/image" Target="../media/image35.svg"/><Relationship Id="rId5" Type="http://schemas.openxmlformats.org/officeDocument/2006/relationships/image" Target="../media/image34.svg"/><Relationship Id="rId4" Type="http://schemas.openxmlformats.org/officeDocument/2006/relationships/image" Target="../media/image31.sv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microsoft.com/office/2018/10/relationships/comments" Target="../comments/modernComment_7FFFFFE4_DDCA9669.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customXml" Target="../ink/ink2.xml"/><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Layout" Target="../slideLayouts/slideLayout49.xml"/><Relationship Id="rId6" Type="http://schemas.openxmlformats.org/officeDocument/2006/relationships/customXml" Target="../ink/ink1.xml"/><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2.png"/></Relationships>
</file>

<file path=ppt/slides/_rels/slide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customXml" Target="../ink/ink3.xml"/><Relationship Id="rId2" Type="http://schemas.microsoft.com/office/2018/10/relationships/comments" Target="../comments/modernComment_10A_ABD9FC16.xml"/><Relationship Id="rId1" Type="http://schemas.openxmlformats.org/officeDocument/2006/relationships/slideLayout" Target="../slideLayouts/slideLayout49.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5F9BA85-5DDD-4AF5-9075-53266F771ECB}"/>
              </a:ext>
            </a:extLst>
          </p:cNvPr>
          <p:cNvSpPr>
            <a:spLocks noGrp="1"/>
          </p:cNvSpPr>
          <p:nvPr>
            <p:ph type="title"/>
          </p:nvPr>
        </p:nvSpPr>
        <p:spPr/>
        <p:txBody>
          <a:bodyPr/>
          <a:lstStyle/>
          <a:p>
            <a:r>
              <a:rPr lang="en-US" altLang="zh-CN"/>
              <a:t>Our Key Offerings</a:t>
            </a:r>
            <a:endParaRPr lang="zh-CN" altLang="en-US"/>
          </a:p>
        </p:txBody>
      </p:sp>
      <p:sp>
        <p:nvSpPr>
          <p:cNvPr id="15" name="Rectangle 14">
            <a:extLst>
              <a:ext uri="{FF2B5EF4-FFF2-40B4-BE49-F238E27FC236}">
                <a16:creationId xmlns:a16="http://schemas.microsoft.com/office/drawing/2014/main" id="{37F47FC9-E85C-9149-8B5A-DFDF30E4956C}"/>
              </a:ext>
            </a:extLst>
          </p:cNvPr>
          <p:cNvSpPr/>
          <p:nvPr/>
        </p:nvSpPr>
        <p:spPr>
          <a:xfrm>
            <a:off x="508073" y="5414492"/>
            <a:ext cx="10913033" cy="874793"/>
          </a:xfrm>
          <a:prstGeom prst="rect">
            <a:avLst/>
          </a:prstGeom>
          <a:gradFill>
            <a:gsLst>
              <a:gs pos="100000">
                <a:srgbClr val="7A126B">
                  <a:alpha val="53000"/>
                </a:srgbClr>
              </a:gs>
              <a:gs pos="30000">
                <a:srgbClr val="B8252E">
                  <a:alpha val="90000"/>
                </a:srgbClr>
              </a:gs>
            </a:gsLst>
            <a:lin ang="0" scaled="1"/>
          </a:gradFill>
          <a:ln w="25400" cap="flat" cmpd="sng" algn="ctr">
            <a:noFill/>
            <a:prstDash val="solid"/>
          </a:ln>
          <a:effectLst/>
        </p:spPr>
        <p:txBody>
          <a:bodyPr lIns="365570" tIns="91392" rIns="365570" bIns="91392" rtlCol="0" anchor="ctr" anchorCtr="0"/>
          <a:lstStyle/>
          <a:p>
            <a:pPr marL="0" marR="0" lvl="0" indent="0" algn="ctr" defTabSz="1218255" rtl="0" eaLnBrk="1" fontAlgn="auto" latinLnBrk="0" hangingPunct="1">
              <a:lnSpc>
                <a:spcPct val="100000"/>
              </a:lnSpc>
              <a:spcBef>
                <a:spcPts val="0"/>
              </a:spcBef>
              <a:spcAft>
                <a:spcPts val="1200"/>
              </a:spcAft>
              <a:buClrTx/>
              <a:buSzTx/>
              <a:buFontTx/>
              <a:buNone/>
              <a:tabLst/>
              <a:defRPr/>
            </a:pPr>
            <a:r>
              <a:rPr kumimoji="0" lang="en-GB" sz="1998" b="1" i="0" u="none" strike="noStrike" kern="1200" cap="none" spc="0" normalizeH="0" baseline="0" noProof="0">
                <a:ln>
                  <a:noFill/>
                </a:ln>
                <a:solidFill>
                  <a:prstClr val="white"/>
                </a:solidFill>
                <a:effectLst/>
                <a:uLnTx/>
                <a:uFillTx/>
                <a:latin typeface="Arial"/>
                <a:ea typeface="+mn-ea"/>
                <a:cs typeface="+mn-cs"/>
              </a:rPr>
              <a:t>Lenovo TruScale</a:t>
            </a:r>
            <a:r>
              <a:rPr kumimoji="0" lang="en-GB" sz="1799" b="1" i="0" u="none" strike="noStrike" kern="1200" cap="none" spc="0" normalizeH="0" baseline="0" noProof="0">
                <a:ln>
                  <a:noFill/>
                </a:ln>
                <a:solidFill>
                  <a:prstClr val="white"/>
                </a:solidFill>
                <a:effectLst/>
                <a:uLnTx/>
                <a:uFillTx/>
                <a:latin typeface="Arial"/>
                <a:ea typeface="+mn-ea"/>
                <a:cs typeface="+mn-cs"/>
              </a:rPr>
              <a:t> </a:t>
            </a:r>
            <a:br>
              <a:rPr kumimoji="0" lang="en-GB" sz="1799" b="1" i="0" u="none" strike="noStrike" kern="1200" cap="none" spc="0" normalizeH="0" baseline="0" noProof="0">
                <a:ln>
                  <a:noFill/>
                </a:ln>
                <a:solidFill>
                  <a:prstClr val="white"/>
                </a:solidFill>
                <a:effectLst/>
                <a:uLnTx/>
                <a:uFillTx/>
                <a:latin typeface="Arial"/>
                <a:ea typeface="+mn-ea"/>
                <a:cs typeface="+mn-cs"/>
              </a:rPr>
            </a:br>
            <a:r>
              <a:rPr kumimoji="0" lang="en-US" sz="1300" b="1" i="0" u="none" strike="noStrike" kern="1200" cap="none" spc="0" normalizeH="0" baseline="0" noProof="0">
                <a:ln>
                  <a:noFill/>
                </a:ln>
                <a:solidFill>
                  <a:prstClr val="white"/>
                </a:solidFill>
                <a:effectLst/>
                <a:uLnTx/>
                <a:uFillTx/>
                <a:latin typeface="Arial"/>
                <a:ea typeface="+mn-ea"/>
                <a:cs typeface="Helvetica"/>
                <a:sym typeface="Helvetica"/>
              </a:rPr>
              <a:t>The simplicity and scalability of a flexible, pay-as-you-go model </a:t>
            </a:r>
            <a:endParaRPr kumimoji="0" lang="en-US" sz="1300" b="1" i="0" u="none" strike="noStrike" kern="1200" cap="none" spc="0" normalizeH="0" baseline="0" noProof="0">
              <a:ln>
                <a:noFill/>
              </a:ln>
              <a:solidFill>
                <a:prstClr val="white"/>
              </a:solidFill>
              <a:effectLst/>
              <a:uLnTx/>
              <a:uFillTx/>
              <a:latin typeface="Arial"/>
              <a:ea typeface="+mn-ea"/>
              <a:cs typeface="Helvetica"/>
            </a:endParaRPr>
          </a:p>
        </p:txBody>
      </p:sp>
      <p:pic>
        <p:nvPicPr>
          <p:cNvPr id="10" name="Picture 6">
            <a:extLst>
              <a:ext uri="{FF2B5EF4-FFF2-40B4-BE49-F238E27FC236}">
                <a16:creationId xmlns:a16="http://schemas.microsoft.com/office/drawing/2014/main" id="{2D73533A-8FFC-4A2E-A2F0-0544221A737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31655" y="1167282"/>
            <a:ext cx="2496616" cy="2799432"/>
          </a:xfrm>
          <a:prstGeom prst="rect">
            <a:avLst/>
          </a:prstGeom>
        </p:spPr>
      </p:pic>
      <p:sp>
        <p:nvSpPr>
          <p:cNvPr id="17" name="Rectangle 16">
            <a:extLst>
              <a:ext uri="{FF2B5EF4-FFF2-40B4-BE49-F238E27FC236}">
                <a16:creationId xmlns:a16="http://schemas.microsoft.com/office/drawing/2014/main" id="{AF92BEB7-1A97-E0A0-DC9B-BF387C42AC03}"/>
              </a:ext>
            </a:extLst>
          </p:cNvPr>
          <p:cNvSpPr/>
          <p:nvPr/>
        </p:nvSpPr>
        <p:spPr>
          <a:xfrm>
            <a:off x="593595" y="3920900"/>
            <a:ext cx="2540067" cy="1078155"/>
          </a:xfrm>
          <a:prstGeom prst="rect">
            <a:avLst/>
          </a:prstGeom>
          <a:gradFill>
            <a:gsLst>
              <a:gs pos="78000">
                <a:srgbClr val="4F1A1F"/>
              </a:gs>
              <a:gs pos="58000">
                <a:schemeClr val="accent2">
                  <a:lumMod val="75000"/>
                </a:schemeClr>
              </a:gs>
            </a:gsLst>
            <a:lin ang="5400000" scaled="0"/>
          </a:gradFill>
          <a:ln>
            <a:noFill/>
          </a:ln>
          <a:effectLst>
            <a:outerShdw blurRad="393700" algn="ctr" rotWithShape="0">
              <a:prstClr val="black">
                <a:alpha val="5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Arial"/>
              <a:ea typeface="+mn-ea"/>
              <a:cs typeface="+mn-cs"/>
            </a:endParaRPr>
          </a:p>
        </p:txBody>
      </p:sp>
      <p:sp>
        <p:nvSpPr>
          <p:cNvPr id="29" name="Rectangle 9">
            <a:extLst>
              <a:ext uri="{FF2B5EF4-FFF2-40B4-BE49-F238E27FC236}">
                <a16:creationId xmlns:a16="http://schemas.microsoft.com/office/drawing/2014/main" id="{EB7B0367-8326-EA95-9764-70CF3F8C0B8D}"/>
              </a:ext>
            </a:extLst>
          </p:cNvPr>
          <p:cNvSpPr/>
          <p:nvPr/>
        </p:nvSpPr>
        <p:spPr>
          <a:xfrm>
            <a:off x="619315" y="2887175"/>
            <a:ext cx="2523724" cy="1068492"/>
          </a:xfrm>
          <a:prstGeom prst="rect">
            <a:avLst/>
          </a:prstGeom>
          <a:gradFill>
            <a:gsLst>
              <a:gs pos="100000">
                <a:schemeClr val="tx1">
                  <a:alpha val="0"/>
                </a:schemeClr>
              </a:gs>
              <a:gs pos="0">
                <a:schemeClr val="tx1">
                  <a:alpha val="6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315" rtl="0" eaLnBrk="1" fontAlgn="auto" latinLnBrk="0" hangingPunct="1">
              <a:lnSpc>
                <a:spcPct val="100000"/>
              </a:lnSpc>
              <a:spcBef>
                <a:spcPts val="0"/>
              </a:spcBef>
              <a:spcAft>
                <a:spcPts val="0"/>
              </a:spcAft>
              <a:buClrTx/>
              <a:buSzTx/>
              <a:buFontTx/>
              <a:buNone/>
              <a:tabLst/>
              <a:defRPr/>
            </a:pPr>
            <a:endParaRPr kumimoji="0" lang="en-US" sz="2396" b="0" i="0" u="none" strike="noStrike" kern="1200" cap="none" spc="0" normalizeH="0" baseline="0" noProof="0">
              <a:ln>
                <a:noFill/>
              </a:ln>
              <a:solidFill>
                <a:prstClr val="white"/>
              </a:solidFill>
              <a:effectLst/>
              <a:uLnTx/>
              <a:uFillTx/>
              <a:latin typeface="Arial"/>
              <a:ea typeface="+mn-ea"/>
              <a:cs typeface="+mn-cs"/>
            </a:endParaRPr>
          </a:p>
        </p:txBody>
      </p:sp>
      <p:sp>
        <p:nvSpPr>
          <p:cNvPr id="31" name="文本框 11">
            <a:extLst>
              <a:ext uri="{FF2B5EF4-FFF2-40B4-BE49-F238E27FC236}">
                <a16:creationId xmlns:a16="http://schemas.microsoft.com/office/drawing/2014/main" id="{FEC733C9-14E8-AE79-E255-0C3F441FB010}"/>
              </a:ext>
            </a:extLst>
          </p:cNvPr>
          <p:cNvSpPr txBox="1"/>
          <p:nvPr/>
        </p:nvSpPr>
        <p:spPr>
          <a:xfrm>
            <a:off x="704766" y="2973229"/>
            <a:ext cx="2309345" cy="899778"/>
          </a:xfrm>
          <a:prstGeom prst="rect">
            <a:avLst/>
          </a:prstGeom>
          <a:noFill/>
        </p:spPr>
        <p:txBody>
          <a:bodyPr wrap="square">
            <a:spAutoFit/>
          </a:bodyPr>
          <a:lstStyle/>
          <a:p>
            <a:pPr marL="0" marR="0" lvl="0" indent="0" algn="l" defTabSz="913146" rtl="0" eaLnBrk="1" fontAlgn="auto" latinLnBrk="0" hangingPunct="1">
              <a:lnSpc>
                <a:spcPts val="2098"/>
              </a:lnSpc>
              <a:spcBef>
                <a:spcPts val="0"/>
              </a:spcBef>
              <a:spcAft>
                <a:spcPts val="0"/>
              </a:spcAft>
              <a:buClrTx/>
              <a:buSzTx/>
              <a:buFontTx/>
              <a:buNone/>
              <a:tabLst/>
              <a:defRPr/>
            </a:pPr>
            <a:r>
              <a:rPr kumimoji="0" lang="en-US" altLang="zh-CN"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rPr>
              <a:t>Digital</a:t>
            </a:r>
          </a:p>
          <a:p>
            <a:pPr marL="0" marR="0" lvl="0" indent="0" algn="l" defTabSz="913146" rtl="0" eaLnBrk="1" fontAlgn="auto" latinLnBrk="0" hangingPunct="1">
              <a:lnSpc>
                <a:spcPts val="2098"/>
              </a:lnSpc>
              <a:spcBef>
                <a:spcPts val="0"/>
              </a:spcBef>
              <a:spcAft>
                <a:spcPts val="0"/>
              </a:spcAft>
              <a:buClrTx/>
              <a:buSzTx/>
              <a:buFontTx/>
              <a:buNone/>
              <a:tabLst/>
              <a:defRPr/>
            </a:pPr>
            <a:r>
              <a:rPr kumimoji="0" lang="en-US" altLang="zh-CN"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rPr>
              <a:t>Workplace Solutions</a:t>
            </a:r>
            <a:endParaRPr kumimoji="0" lang="zh-CN" altLang="en-US"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42" name="文本框 29">
            <a:extLst>
              <a:ext uri="{FF2B5EF4-FFF2-40B4-BE49-F238E27FC236}">
                <a16:creationId xmlns:a16="http://schemas.microsoft.com/office/drawing/2014/main" id="{520C9A71-CE6E-0FBE-AA70-528AB06D9F35}"/>
              </a:ext>
            </a:extLst>
          </p:cNvPr>
          <p:cNvSpPr txBox="1"/>
          <p:nvPr/>
        </p:nvSpPr>
        <p:spPr>
          <a:xfrm>
            <a:off x="704766" y="4071471"/>
            <a:ext cx="2472659" cy="523060"/>
          </a:xfrm>
          <a:prstGeom prst="rect">
            <a:avLst/>
          </a:prstGeom>
          <a:noFill/>
        </p:spPr>
        <p:txBody>
          <a:bodyPr wrap="square" lIns="91392" tIns="45696" rIns="91392" bIns="45696" rtlCol="0" anchor="t">
            <a:spAutoFit/>
          </a:bodyPr>
          <a:lstStyle>
            <a:defPPr>
              <a:defRPr lang="en-US"/>
            </a:defPPr>
            <a:lvl1pPr defTabSz="1949770">
              <a:defRPr sz="1919">
                <a:solidFill>
                  <a:prstClr val="white"/>
                </a:solidFill>
                <a:latin typeface="Arial" pitchFamily="34" charset="0"/>
                <a:ea typeface="黑体" panose="02010609060101010101" pitchFamily="49" charset="-122"/>
                <a:cs typeface="Arial" pitchFamily="34" charset="0"/>
              </a:defRPr>
            </a:lvl1pPr>
          </a:lstStyle>
          <a:p>
            <a:pPr marL="0" marR="0" lvl="0" indent="0" algn="l" defTabSz="1949185"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黑体"/>
                <a:cs typeface="Arial"/>
              </a:rPr>
              <a:t>Security, Performance, and Employee Satisfaction</a:t>
            </a:r>
            <a:endParaRPr kumimoji="0" lang="zh-CN" altLang="en-US" sz="1400" b="0" i="0" u="none" strike="noStrike" kern="1200" cap="none" spc="0" normalizeH="0" baseline="0" noProof="0">
              <a:ln>
                <a:noFill/>
              </a:ln>
              <a:solidFill>
                <a:prstClr val="white"/>
              </a:solidFill>
              <a:effectLst/>
              <a:uLnTx/>
              <a:uFillTx/>
              <a:latin typeface="Arial"/>
              <a:ea typeface="黑体"/>
              <a:cs typeface="Arial"/>
            </a:endParaRPr>
          </a:p>
        </p:txBody>
      </p:sp>
      <p:pic>
        <p:nvPicPr>
          <p:cNvPr id="27" name="Picture 26" descr="A group of people standing in a factory&#10;&#10;Description automatically generated">
            <a:extLst>
              <a:ext uri="{FF2B5EF4-FFF2-40B4-BE49-F238E27FC236}">
                <a16:creationId xmlns:a16="http://schemas.microsoft.com/office/drawing/2014/main" id="{AE4C9FDB-D536-0974-9575-E12DEB79928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787451" y="1167282"/>
            <a:ext cx="2523853" cy="2852608"/>
          </a:xfrm>
          <a:prstGeom prst="rect">
            <a:avLst/>
          </a:prstGeom>
        </p:spPr>
      </p:pic>
      <p:sp>
        <p:nvSpPr>
          <p:cNvPr id="6" name="Rectangle 5">
            <a:extLst>
              <a:ext uri="{FF2B5EF4-FFF2-40B4-BE49-F238E27FC236}">
                <a16:creationId xmlns:a16="http://schemas.microsoft.com/office/drawing/2014/main" id="{815A6A54-1007-CF8D-8FDF-107DC4138A54}"/>
              </a:ext>
            </a:extLst>
          </p:cNvPr>
          <p:cNvSpPr/>
          <p:nvPr/>
        </p:nvSpPr>
        <p:spPr>
          <a:xfrm>
            <a:off x="8787349" y="3920900"/>
            <a:ext cx="2523954" cy="1044665"/>
          </a:xfrm>
          <a:prstGeom prst="rect">
            <a:avLst/>
          </a:prstGeom>
          <a:gradFill>
            <a:gsLst>
              <a:gs pos="93000">
                <a:srgbClr val="89333C"/>
              </a:gs>
              <a:gs pos="51000">
                <a:srgbClr val="B8252E"/>
              </a:gs>
            </a:gsLst>
            <a:lin ang="5400000" scaled="0"/>
          </a:gradFill>
          <a:ln>
            <a:noFill/>
          </a:ln>
          <a:effectLst>
            <a:outerShdw blurRad="393700" algn="ctr" rotWithShape="0">
              <a:prstClr val="black">
                <a:alpha val="5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Arial"/>
              <a:ea typeface="+mn-ea"/>
              <a:cs typeface="+mn-cs"/>
            </a:endParaRPr>
          </a:p>
        </p:txBody>
      </p:sp>
      <p:sp>
        <p:nvSpPr>
          <p:cNvPr id="8" name="Rectangle 9">
            <a:extLst>
              <a:ext uri="{FF2B5EF4-FFF2-40B4-BE49-F238E27FC236}">
                <a16:creationId xmlns:a16="http://schemas.microsoft.com/office/drawing/2014/main" id="{D9302682-2179-4E91-BE31-3B55F527FB53}"/>
              </a:ext>
            </a:extLst>
          </p:cNvPr>
          <p:cNvSpPr/>
          <p:nvPr/>
        </p:nvSpPr>
        <p:spPr>
          <a:xfrm>
            <a:off x="8773542" y="2887175"/>
            <a:ext cx="2503500" cy="1044666"/>
          </a:xfrm>
          <a:prstGeom prst="rect">
            <a:avLst/>
          </a:prstGeom>
          <a:gradFill>
            <a:gsLst>
              <a:gs pos="100000">
                <a:schemeClr val="tx1">
                  <a:alpha val="0"/>
                </a:schemeClr>
              </a:gs>
              <a:gs pos="0">
                <a:schemeClr val="tx1">
                  <a:alpha val="6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315" rtl="0" eaLnBrk="1" fontAlgn="auto" latinLnBrk="0" hangingPunct="1">
              <a:lnSpc>
                <a:spcPct val="100000"/>
              </a:lnSpc>
              <a:spcBef>
                <a:spcPts val="0"/>
              </a:spcBef>
              <a:spcAft>
                <a:spcPts val="0"/>
              </a:spcAft>
              <a:buClrTx/>
              <a:buSzTx/>
              <a:buFontTx/>
              <a:buNone/>
              <a:tabLst/>
              <a:defRPr/>
            </a:pPr>
            <a:endParaRPr kumimoji="0" lang="en-US" sz="2396" b="0" i="0" u="none" strike="noStrike" kern="1200" cap="none" spc="0" normalizeH="0" baseline="0" noProof="0">
              <a:ln>
                <a:noFill/>
              </a:ln>
              <a:solidFill>
                <a:prstClr val="white"/>
              </a:solidFill>
              <a:effectLst/>
              <a:uLnTx/>
              <a:uFillTx/>
              <a:latin typeface="Arial"/>
              <a:ea typeface="+mn-ea"/>
              <a:cs typeface="+mn-cs"/>
            </a:endParaRPr>
          </a:p>
        </p:txBody>
      </p:sp>
      <p:sp>
        <p:nvSpPr>
          <p:cNvPr id="28" name="文本框 6">
            <a:extLst>
              <a:ext uri="{FF2B5EF4-FFF2-40B4-BE49-F238E27FC236}">
                <a16:creationId xmlns:a16="http://schemas.microsoft.com/office/drawing/2014/main" id="{4CCA978F-F663-5DAB-7E0D-D7486ED2BE54}"/>
              </a:ext>
            </a:extLst>
          </p:cNvPr>
          <p:cNvSpPr txBox="1"/>
          <p:nvPr/>
        </p:nvSpPr>
        <p:spPr>
          <a:xfrm>
            <a:off x="8800858" y="2973229"/>
            <a:ext cx="2359637" cy="630778"/>
          </a:xfrm>
          <a:prstGeom prst="rect">
            <a:avLst/>
          </a:prstGeom>
          <a:noFill/>
        </p:spPr>
        <p:txBody>
          <a:bodyPr wrap="square">
            <a:spAutoFit/>
          </a:bodyPr>
          <a:lstStyle/>
          <a:p>
            <a:pPr marL="0" marR="0" lvl="0" indent="0" algn="l" defTabSz="913146" rtl="0" eaLnBrk="1" fontAlgn="auto" latinLnBrk="0" hangingPunct="1">
              <a:lnSpc>
                <a:spcPts val="2098"/>
              </a:lnSpc>
              <a:spcBef>
                <a:spcPts val="0"/>
              </a:spcBef>
              <a:spcAft>
                <a:spcPts val="0"/>
              </a:spcAft>
              <a:buClrTx/>
              <a:buSzTx/>
              <a:buFontTx/>
              <a:buNone/>
              <a:tabLst/>
              <a:defRPr/>
            </a:pPr>
            <a:r>
              <a:rPr kumimoji="0" lang="en-US" altLang="zh-CN"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rPr>
              <a:t>Vertical</a:t>
            </a:r>
          </a:p>
          <a:p>
            <a:pPr marL="0" marR="0" lvl="0" indent="0" algn="l" defTabSz="913146" rtl="0" eaLnBrk="1" fontAlgn="auto" latinLnBrk="0" hangingPunct="1">
              <a:lnSpc>
                <a:spcPts val="2098"/>
              </a:lnSpc>
              <a:spcBef>
                <a:spcPts val="0"/>
              </a:spcBef>
              <a:spcAft>
                <a:spcPts val="0"/>
              </a:spcAft>
              <a:buClrTx/>
              <a:buSzTx/>
              <a:buFontTx/>
              <a:buNone/>
              <a:tabLst/>
              <a:defRPr/>
            </a:pPr>
            <a:r>
              <a:rPr kumimoji="0" lang="en-US" altLang="zh-CN"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rPr>
              <a:t>Solutions</a:t>
            </a:r>
            <a:endParaRPr kumimoji="0" lang="zh-CN" altLang="en-US"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39" name="文本框 20">
            <a:extLst>
              <a:ext uri="{FF2B5EF4-FFF2-40B4-BE49-F238E27FC236}">
                <a16:creationId xmlns:a16="http://schemas.microsoft.com/office/drawing/2014/main" id="{FA9EDD4F-54A9-BA57-B288-3CD01C1ACF13}"/>
              </a:ext>
            </a:extLst>
          </p:cNvPr>
          <p:cNvSpPr txBox="1"/>
          <p:nvPr/>
        </p:nvSpPr>
        <p:spPr>
          <a:xfrm>
            <a:off x="8773543" y="4071471"/>
            <a:ext cx="2523954" cy="523060"/>
          </a:xfrm>
          <a:prstGeom prst="rect">
            <a:avLst/>
          </a:prstGeom>
          <a:noFill/>
        </p:spPr>
        <p:txBody>
          <a:bodyPr wrap="square" lIns="91392" tIns="45696" rIns="91392" bIns="45696" rtlCol="0" anchor="t">
            <a:spAutoFit/>
          </a:bodyPr>
          <a:lstStyle/>
          <a:p>
            <a:pPr marL="0" marR="0" lvl="0" indent="0" algn="l" defTabSz="121768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white"/>
                </a:solidFill>
                <a:effectLst/>
                <a:uLnTx/>
                <a:uFillTx/>
                <a:latin typeface="Arial" pitchFamily="34" charset="0"/>
                <a:ea typeface="黑体" panose="02010609060101010101" pitchFamily="49" charset="-122"/>
                <a:cs typeface="Arial" pitchFamily="34" charset="0"/>
              </a:rPr>
              <a:t>Tailored to specific industries and sectors</a:t>
            </a:r>
          </a:p>
        </p:txBody>
      </p:sp>
      <p:pic>
        <p:nvPicPr>
          <p:cNvPr id="14" name="Picture 4">
            <a:extLst>
              <a:ext uri="{FF2B5EF4-FFF2-40B4-BE49-F238E27FC236}">
                <a16:creationId xmlns:a16="http://schemas.microsoft.com/office/drawing/2014/main" id="{A8A56B21-8490-4F1E-9618-19DEFE17245D}"/>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81579" y="1167282"/>
            <a:ext cx="2468617" cy="2852608"/>
          </a:xfrm>
          <a:prstGeom prst="rect">
            <a:avLst/>
          </a:prstGeom>
        </p:spPr>
      </p:pic>
      <p:sp>
        <p:nvSpPr>
          <p:cNvPr id="34" name="Rectangle 9">
            <a:extLst>
              <a:ext uri="{FF2B5EF4-FFF2-40B4-BE49-F238E27FC236}">
                <a16:creationId xmlns:a16="http://schemas.microsoft.com/office/drawing/2014/main" id="{A4FF406F-8AD3-2F4F-5169-514A04911C64}"/>
              </a:ext>
            </a:extLst>
          </p:cNvPr>
          <p:cNvSpPr/>
          <p:nvPr/>
        </p:nvSpPr>
        <p:spPr>
          <a:xfrm>
            <a:off x="6072672" y="2872615"/>
            <a:ext cx="2466706" cy="1059227"/>
          </a:xfrm>
          <a:prstGeom prst="rect">
            <a:avLst/>
          </a:prstGeom>
          <a:gradFill>
            <a:gsLst>
              <a:gs pos="100000">
                <a:schemeClr val="tx1">
                  <a:alpha val="0"/>
                </a:schemeClr>
              </a:gs>
              <a:gs pos="0">
                <a:schemeClr val="tx1">
                  <a:alpha val="6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315" rtl="0" eaLnBrk="1" fontAlgn="auto" latinLnBrk="0" hangingPunct="1">
              <a:lnSpc>
                <a:spcPct val="100000"/>
              </a:lnSpc>
              <a:spcBef>
                <a:spcPts val="0"/>
              </a:spcBef>
              <a:spcAft>
                <a:spcPts val="0"/>
              </a:spcAft>
              <a:buClrTx/>
              <a:buSzTx/>
              <a:buFontTx/>
              <a:buNone/>
              <a:tabLst/>
              <a:defRPr/>
            </a:pPr>
            <a:endParaRPr kumimoji="0" lang="en-US" sz="2396" b="0" i="0" u="none" strike="noStrike" kern="1200" cap="none" spc="0" normalizeH="0" baseline="0" noProof="0">
              <a:ln>
                <a:noFill/>
              </a:ln>
              <a:solidFill>
                <a:prstClr val="white"/>
              </a:solidFill>
              <a:effectLst/>
              <a:uLnTx/>
              <a:uFillTx/>
              <a:latin typeface="Arial"/>
              <a:ea typeface="+mn-ea"/>
              <a:cs typeface="+mn-cs"/>
            </a:endParaRPr>
          </a:p>
        </p:txBody>
      </p:sp>
      <p:sp>
        <p:nvSpPr>
          <p:cNvPr id="37" name="文本框 14">
            <a:extLst>
              <a:ext uri="{FF2B5EF4-FFF2-40B4-BE49-F238E27FC236}">
                <a16:creationId xmlns:a16="http://schemas.microsoft.com/office/drawing/2014/main" id="{EA0FA197-05DD-2B25-1C08-48E98DA0B91E}"/>
              </a:ext>
            </a:extLst>
          </p:cNvPr>
          <p:cNvSpPr txBox="1"/>
          <p:nvPr/>
        </p:nvSpPr>
        <p:spPr>
          <a:xfrm>
            <a:off x="6101845" y="2973229"/>
            <a:ext cx="2252568" cy="630614"/>
          </a:xfrm>
          <a:prstGeom prst="rect">
            <a:avLst/>
          </a:prstGeom>
          <a:noFill/>
        </p:spPr>
        <p:txBody>
          <a:bodyPr wrap="square">
            <a:spAutoFit/>
          </a:bodyPr>
          <a:lstStyle/>
          <a:p>
            <a:pPr marL="0" marR="0" lvl="0" indent="0" algn="l" defTabSz="913146" rtl="0" eaLnBrk="1" fontAlgn="auto" latinLnBrk="0" hangingPunct="1">
              <a:lnSpc>
                <a:spcPts val="2098"/>
              </a:lnSpc>
              <a:spcBef>
                <a:spcPts val="0"/>
              </a:spcBef>
              <a:spcAft>
                <a:spcPts val="0"/>
              </a:spcAft>
              <a:buClrTx/>
              <a:buSzTx/>
              <a:buFontTx/>
              <a:buNone/>
              <a:tabLst/>
              <a:defRPr/>
            </a:pPr>
            <a:r>
              <a:rPr kumimoji="0" lang="en-US" altLang="zh-CN"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rPr>
              <a:t>Sustainability</a:t>
            </a:r>
          </a:p>
          <a:p>
            <a:pPr marL="0" marR="0" lvl="0" indent="0" algn="l" defTabSz="913146" rtl="0" eaLnBrk="1" fontAlgn="auto" latinLnBrk="0" hangingPunct="1">
              <a:lnSpc>
                <a:spcPts val="2098"/>
              </a:lnSpc>
              <a:spcBef>
                <a:spcPts val="0"/>
              </a:spcBef>
              <a:spcAft>
                <a:spcPts val="0"/>
              </a:spcAft>
              <a:buClrTx/>
              <a:buSzTx/>
              <a:buFontTx/>
              <a:buNone/>
              <a:tabLst/>
              <a:defRPr/>
            </a:pPr>
            <a:r>
              <a:rPr kumimoji="0" lang="en-US" altLang="zh-CN"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rPr>
              <a:t>Solutions</a:t>
            </a:r>
            <a:endParaRPr kumimoji="0" lang="zh-CN" altLang="en-US"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16" name="Rectangle 15">
            <a:extLst>
              <a:ext uri="{FF2B5EF4-FFF2-40B4-BE49-F238E27FC236}">
                <a16:creationId xmlns:a16="http://schemas.microsoft.com/office/drawing/2014/main" id="{EE5B62CC-34B5-0E51-46AC-0E86D114DC2D}"/>
              </a:ext>
            </a:extLst>
          </p:cNvPr>
          <p:cNvSpPr/>
          <p:nvPr/>
        </p:nvSpPr>
        <p:spPr>
          <a:xfrm>
            <a:off x="6083489" y="3920900"/>
            <a:ext cx="2466706" cy="1059227"/>
          </a:xfrm>
          <a:prstGeom prst="rect">
            <a:avLst/>
          </a:prstGeom>
          <a:gradFill>
            <a:gsLst>
              <a:gs pos="92000">
                <a:srgbClr val="2A2A4F"/>
              </a:gs>
              <a:gs pos="73000">
                <a:schemeClr val="accent6"/>
              </a:gs>
            </a:gsLst>
            <a:lin ang="5400000" scaled="0"/>
          </a:gradFill>
          <a:ln>
            <a:noFill/>
          </a:ln>
          <a:effectLst>
            <a:outerShdw blurRad="393700" algn="ctr" rotWithShape="0">
              <a:prstClr val="black">
                <a:alpha val="5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Arial"/>
              <a:ea typeface="+mn-ea"/>
              <a:cs typeface="+mn-cs"/>
            </a:endParaRPr>
          </a:p>
        </p:txBody>
      </p:sp>
      <p:sp>
        <p:nvSpPr>
          <p:cNvPr id="47" name="文本框 24">
            <a:extLst>
              <a:ext uri="{FF2B5EF4-FFF2-40B4-BE49-F238E27FC236}">
                <a16:creationId xmlns:a16="http://schemas.microsoft.com/office/drawing/2014/main" id="{726B1502-F88E-6206-688A-3A78BE439FF7}"/>
              </a:ext>
            </a:extLst>
          </p:cNvPr>
          <p:cNvSpPr txBox="1"/>
          <p:nvPr/>
        </p:nvSpPr>
        <p:spPr>
          <a:xfrm>
            <a:off x="6189698" y="4071471"/>
            <a:ext cx="2396095" cy="523060"/>
          </a:xfrm>
          <a:prstGeom prst="rect">
            <a:avLst/>
          </a:prstGeom>
          <a:noFill/>
        </p:spPr>
        <p:txBody>
          <a:bodyPr wrap="square" lIns="91392" tIns="45696" rIns="91392" bIns="45696" rtlCol="0" anchor="t">
            <a:spAutoFit/>
          </a:bodyPr>
          <a:lstStyle/>
          <a:p>
            <a:pPr marL="0" marR="0" lvl="0" indent="0" algn="l" defTabSz="121768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黑体"/>
                <a:cs typeface="+mn-cs"/>
              </a:rPr>
              <a:t>Solutions for meeting sustainability goals</a:t>
            </a:r>
            <a:endParaRPr kumimoji="0" lang="en-US" altLang="zh-CN" sz="1400" b="0" i="0" u="none" strike="noStrike" kern="1200" cap="none" spc="0" normalizeH="0" baseline="0" noProof="0">
              <a:ln>
                <a:noFill/>
              </a:ln>
              <a:solidFill>
                <a:prstClr val="white"/>
              </a:solidFill>
              <a:effectLst/>
              <a:uLnTx/>
              <a:uFillTx/>
              <a:latin typeface="Arial"/>
              <a:ea typeface="黑体"/>
              <a:cs typeface="+mn-cs"/>
            </a:endParaRPr>
          </a:p>
        </p:txBody>
      </p:sp>
      <p:pic>
        <p:nvPicPr>
          <p:cNvPr id="25" name="Picture 24" descr="A close-up of a glass cube&#10;&#10;Description automatically generated">
            <a:extLst>
              <a:ext uri="{FF2B5EF4-FFF2-40B4-BE49-F238E27FC236}">
                <a16:creationId xmlns:a16="http://schemas.microsoft.com/office/drawing/2014/main" id="{AA29A60A-F475-0C36-EA22-EC0D42B3019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400772" y="1167283"/>
            <a:ext cx="2484149" cy="3115497"/>
          </a:xfrm>
          <a:prstGeom prst="rect">
            <a:avLst/>
          </a:prstGeom>
        </p:spPr>
      </p:pic>
      <p:sp>
        <p:nvSpPr>
          <p:cNvPr id="30" name="Rectangle 9">
            <a:extLst>
              <a:ext uri="{FF2B5EF4-FFF2-40B4-BE49-F238E27FC236}">
                <a16:creationId xmlns:a16="http://schemas.microsoft.com/office/drawing/2014/main" id="{38D67579-A0F9-1C61-93BD-FE43CCA69BF3}"/>
              </a:ext>
            </a:extLst>
          </p:cNvPr>
          <p:cNvSpPr/>
          <p:nvPr/>
        </p:nvSpPr>
        <p:spPr>
          <a:xfrm>
            <a:off x="3372762" y="2887175"/>
            <a:ext cx="2372585" cy="1044666"/>
          </a:xfrm>
          <a:prstGeom prst="rect">
            <a:avLst/>
          </a:prstGeom>
          <a:gradFill>
            <a:gsLst>
              <a:gs pos="100000">
                <a:schemeClr val="tx1">
                  <a:alpha val="0"/>
                </a:schemeClr>
              </a:gs>
              <a:gs pos="0">
                <a:schemeClr val="tx1">
                  <a:alpha val="6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315" rtl="0" eaLnBrk="1" fontAlgn="auto" latinLnBrk="0" hangingPunct="1">
              <a:lnSpc>
                <a:spcPct val="100000"/>
              </a:lnSpc>
              <a:spcBef>
                <a:spcPts val="0"/>
              </a:spcBef>
              <a:spcAft>
                <a:spcPts val="0"/>
              </a:spcAft>
              <a:buClrTx/>
              <a:buSzTx/>
              <a:buFontTx/>
              <a:buNone/>
              <a:tabLst/>
              <a:defRPr/>
            </a:pPr>
            <a:endParaRPr kumimoji="0" lang="en-US" sz="2396" b="0" i="0" u="none" strike="noStrike" kern="1200" cap="none" spc="0" normalizeH="0" baseline="0" noProof="0">
              <a:ln>
                <a:noFill/>
              </a:ln>
              <a:solidFill>
                <a:prstClr val="white"/>
              </a:solidFill>
              <a:effectLst/>
              <a:uLnTx/>
              <a:uFillTx/>
              <a:latin typeface="Arial"/>
              <a:ea typeface="+mn-ea"/>
              <a:cs typeface="+mn-cs"/>
            </a:endParaRPr>
          </a:p>
        </p:txBody>
      </p:sp>
      <p:sp>
        <p:nvSpPr>
          <p:cNvPr id="35" name="文本框 12">
            <a:extLst>
              <a:ext uri="{FF2B5EF4-FFF2-40B4-BE49-F238E27FC236}">
                <a16:creationId xmlns:a16="http://schemas.microsoft.com/office/drawing/2014/main" id="{E9D69D96-BFA9-A81F-B971-0EADE2495EA9}"/>
              </a:ext>
            </a:extLst>
          </p:cNvPr>
          <p:cNvSpPr txBox="1"/>
          <p:nvPr/>
        </p:nvSpPr>
        <p:spPr>
          <a:xfrm>
            <a:off x="3486354" y="2973229"/>
            <a:ext cx="2082563" cy="899778"/>
          </a:xfrm>
          <a:prstGeom prst="rect">
            <a:avLst/>
          </a:prstGeom>
          <a:noFill/>
        </p:spPr>
        <p:txBody>
          <a:bodyPr wrap="square">
            <a:spAutoFit/>
          </a:bodyPr>
          <a:lstStyle/>
          <a:p>
            <a:pPr marL="0" marR="0" lvl="0" indent="0" algn="l" defTabSz="913146" rtl="0" eaLnBrk="1" fontAlgn="auto" latinLnBrk="0" hangingPunct="1">
              <a:lnSpc>
                <a:spcPts val="2098"/>
              </a:lnSpc>
              <a:spcBef>
                <a:spcPts val="0"/>
              </a:spcBef>
              <a:spcAft>
                <a:spcPts val="0"/>
              </a:spcAft>
              <a:buClrTx/>
              <a:buSzTx/>
              <a:buFontTx/>
              <a:buNone/>
              <a:tabLst/>
              <a:defRPr/>
            </a:pPr>
            <a:r>
              <a:rPr kumimoji="0" lang="en-US" altLang="zh-CN"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rPr>
              <a:t>Hybrid</a:t>
            </a:r>
          </a:p>
          <a:p>
            <a:pPr marL="0" marR="0" lvl="0" indent="0" algn="l" defTabSz="913146" rtl="0" eaLnBrk="1" fontAlgn="auto" latinLnBrk="0" hangingPunct="1">
              <a:lnSpc>
                <a:spcPts val="2098"/>
              </a:lnSpc>
              <a:spcBef>
                <a:spcPts val="0"/>
              </a:spcBef>
              <a:spcAft>
                <a:spcPts val="0"/>
              </a:spcAft>
              <a:buClrTx/>
              <a:buSzTx/>
              <a:buFontTx/>
              <a:buNone/>
              <a:tabLst/>
              <a:defRPr/>
            </a:pPr>
            <a:r>
              <a:rPr kumimoji="0" lang="en-US" altLang="zh-CN"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rPr>
              <a:t>Cloud Solutions</a:t>
            </a:r>
            <a:endParaRPr kumimoji="0" lang="zh-CN" altLang="en-US" sz="1996" b="1"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7" name="Rectangle 6">
            <a:extLst>
              <a:ext uri="{FF2B5EF4-FFF2-40B4-BE49-F238E27FC236}">
                <a16:creationId xmlns:a16="http://schemas.microsoft.com/office/drawing/2014/main" id="{6EB489E5-7CE2-4D2B-7225-06138DCCE1AE}"/>
              </a:ext>
            </a:extLst>
          </p:cNvPr>
          <p:cNvSpPr/>
          <p:nvPr/>
        </p:nvSpPr>
        <p:spPr>
          <a:xfrm>
            <a:off x="3365175" y="3920899"/>
            <a:ext cx="2497955" cy="1044666"/>
          </a:xfrm>
          <a:prstGeom prst="rect">
            <a:avLst/>
          </a:prstGeom>
          <a:gradFill>
            <a:gsLst>
              <a:gs pos="82000">
                <a:srgbClr val="632A60"/>
              </a:gs>
              <a:gs pos="56000">
                <a:schemeClr val="accent4">
                  <a:lumMod val="90000"/>
                  <a:lumOff val="10000"/>
                </a:schemeClr>
              </a:gs>
            </a:gsLst>
            <a:lin ang="5400000" scaled="0"/>
          </a:gradFill>
          <a:ln>
            <a:noFill/>
          </a:ln>
          <a:effectLst>
            <a:outerShdw blurRad="393700" algn="ctr" rotWithShape="0">
              <a:prstClr val="black">
                <a:alpha val="5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Arial"/>
              <a:ea typeface="+mn-ea"/>
              <a:cs typeface="+mn-cs"/>
            </a:endParaRPr>
          </a:p>
        </p:txBody>
      </p:sp>
      <p:sp>
        <p:nvSpPr>
          <p:cNvPr id="13" name="文本框 22">
            <a:extLst>
              <a:ext uri="{FF2B5EF4-FFF2-40B4-BE49-F238E27FC236}">
                <a16:creationId xmlns:a16="http://schemas.microsoft.com/office/drawing/2014/main" id="{9624D2C4-6DCD-3B64-7B26-68A45E365384}"/>
              </a:ext>
            </a:extLst>
          </p:cNvPr>
          <p:cNvSpPr txBox="1"/>
          <p:nvPr/>
        </p:nvSpPr>
        <p:spPr>
          <a:xfrm>
            <a:off x="3365175" y="4071471"/>
            <a:ext cx="2497955" cy="523084"/>
          </a:xfrm>
          <a:prstGeom prst="rect">
            <a:avLst/>
          </a:prstGeom>
          <a:noFill/>
        </p:spPr>
        <p:txBody>
          <a:bodyPr wrap="square" rtlCol="0">
            <a:spAutoFit/>
          </a:bodyPr>
          <a:lstStyle>
            <a:defPPr>
              <a:defRPr lang="en-US"/>
            </a:defPPr>
            <a:lvl1pPr marL="0" algn="l" defTabSz="1218835" rtl="0" eaLnBrk="1" latinLnBrk="0" hangingPunct="1">
              <a:defRPr sz="2400" kern="1200">
                <a:solidFill>
                  <a:schemeClr val="tx1"/>
                </a:solidFill>
                <a:latin typeface="+mn-lt"/>
                <a:ea typeface="+mn-ea"/>
                <a:cs typeface="+mn-cs"/>
              </a:defRPr>
            </a:lvl1pPr>
            <a:lvl2pPr marL="609417" algn="l" defTabSz="1218835" rtl="0" eaLnBrk="1" latinLnBrk="0" hangingPunct="1">
              <a:defRPr sz="2400" kern="1200">
                <a:solidFill>
                  <a:schemeClr val="tx1"/>
                </a:solidFill>
                <a:latin typeface="+mn-lt"/>
                <a:ea typeface="+mn-ea"/>
                <a:cs typeface="+mn-cs"/>
              </a:defRPr>
            </a:lvl2pPr>
            <a:lvl3pPr marL="1218835" algn="l" defTabSz="1218835" rtl="0" eaLnBrk="1" latinLnBrk="0" hangingPunct="1">
              <a:defRPr sz="2400" kern="1200">
                <a:solidFill>
                  <a:schemeClr val="tx1"/>
                </a:solidFill>
                <a:latin typeface="+mn-lt"/>
                <a:ea typeface="+mn-ea"/>
                <a:cs typeface="+mn-cs"/>
              </a:defRPr>
            </a:lvl3pPr>
            <a:lvl4pPr marL="1828252" algn="l" defTabSz="1218835" rtl="0" eaLnBrk="1" latinLnBrk="0" hangingPunct="1">
              <a:defRPr sz="2400" kern="1200">
                <a:solidFill>
                  <a:schemeClr val="tx1"/>
                </a:solidFill>
                <a:latin typeface="+mn-lt"/>
                <a:ea typeface="+mn-ea"/>
                <a:cs typeface="+mn-cs"/>
              </a:defRPr>
            </a:lvl4pPr>
            <a:lvl5pPr marL="2437669" algn="l" defTabSz="1218835" rtl="0" eaLnBrk="1" latinLnBrk="0" hangingPunct="1">
              <a:defRPr sz="2400" kern="1200">
                <a:solidFill>
                  <a:schemeClr val="tx1"/>
                </a:solidFill>
                <a:latin typeface="+mn-lt"/>
                <a:ea typeface="+mn-ea"/>
                <a:cs typeface="+mn-cs"/>
              </a:defRPr>
            </a:lvl5pPr>
            <a:lvl6pPr marL="3047086" algn="l" defTabSz="1218835" rtl="0" eaLnBrk="1" latinLnBrk="0" hangingPunct="1">
              <a:defRPr sz="2400" kern="1200">
                <a:solidFill>
                  <a:schemeClr val="tx1"/>
                </a:solidFill>
                <a:latin typeface="+mn-lt"/>
                <a:ea typeface="+mn-ea"/>
                <a:cs typeface="+mn-cs"/>
              </a:defRPr>
            </a:lvl6pPr>
            <a:lvl7pPr marL="3656503" algn="l" defTabSz="1218835" rtl="0" eaLnBrk="1" latinLnBrk="0" hangingPunct="1">
              <a:defRPr sz="2400" kern="1200">
                <a:solidFill>
                  <a:schemeClr val="tx1"/>
                </a:solidFill>
                <a:latin typeface="+mn-lt"/>
                <a:ea typeface="+mn-ea"/>
                <a:cs typeface="+mn-cs"/>
              </a:defRPr>
            </a:lvl7pPr>
            <a:lvl8pPr marL="4265919" algn="l" defTabSz="1218835" rtl="0" eaLnBrk="1" latinLnBrk="0" hangingPunct="1">
              <a:defRPr sz="2400" kern="1200">
                <a:solidFill>
                  <a:schemeClr val="tx1"/>
                </a:solidFill>
                <a:latin typeface="+mn-lt"/>
                <a:ea typeface="+mn-ea"/>
                <a:cs typeface="+mn-cs"/>
              </a:defRPr>
            </a:lvl8pPr>
            <a:lvl9pPr marL="4875338" algn="l" defTabSz="1218835" rtl="0" eaLnBrk="1" latinLnBrk="0" hangingPunct="1">
              <a:defRPr sz="2400" kern="1200">
                <a:solidFill>
                  <a:schemeClr val="tx1"/>
                </a:solidFill>
                <a:latin typeface="+mn-lt"/>
                <a:ea typeface="+mn-ea"/>
                <a:cs typeface="+mn-cs"/>
              </a:defRPr>
            </a:lvl9pPr>
          </a:lstStyle>
          <a:p>
            <a:pPr marL="0" marR="0" lvl="0" indent="0" algn="l" defTabSz="1218469" rtl="0" eaLnBrk="1" fontAlgn="auto" latinLnBrk="0" hangingPunct="1">
              <a:lnSpc>
                <a:spcPct val="100000"/>
              </a:lnSpc>
              <a:spcBef>
                <a:spcPts val="0"/>
              </a:spcBef>
              <a:spcAft>
                <a:spcPts val="0"/>
              </a:spcAft>
              <a:buClrTx/>
              <a:buSzTx/>
              <a:buFontTx/>
              <a:buNone/>
              <a:tabLst/>
              <a:defRPr/>
            </a:pPr>
            <a:r>
              <a:rPr kumimoji="0" lang="en-GB" sz="1400" b="0" i="0" u="none" strike="noStrike" kern="100" cap="none" spc="0" normalizeH="0" baseline="0" noProof="0">
                <a:ln>
                  <a:noFill/>
                </a:ln>
                <a:solidFill>
                  <a:prstClr val="white"/>
                </a:solidFill>
                <a:effectLst/>
                <a:uLnTx/>
                <a:uFillTx/>
                <a:latin typeface="Arial" panose="020B0604020202020204" pitchFamily="34" charset="0"/>
                <a:ea typeface="DengXian" panose="02010600030101010101" pitchFamily="2" charset="-122"/>
                <a:cs typeface="Arial" panose="020B0604020202020204" pitchFamily="34" charset="0"/>
              </a:rPr>
              <a:t>The power </a:t>
            </a:r>
            <a:r>
              <a:rPr kumimoji="0" lang="en-US" sz="1400" b="0" i="0" u="none" strike="noStrike" kern="1200" cap="none" spc="0" normalizeH="0" baseline="0" noProof="0">
                <a:ln>
                  <a:noFill/>
                </a:ln>
                <a:solidFill>
                  <a:prstClr val="white"/>
                </a:solidFill>
                <a:effectLst/>
                <a:uLnTx/>
                <a:uFillTx/>
                <a:latin typeface="Arial" pitchFamily="34" charset="0"/>
                <a:ea typeface="黑体" panose="02010609060101010101" pitchFamily="49" charset="-122"/>
                <a:cs typeface="Arial" pitchFamily="34" charset="0"/>
              </a:rPr>
              <a:t>of a public cloud; the security of a private one</a:t>
            </a:r>
            <a:endParaRPr kumimoji="0" lang="en-US" altLang="zh-CN" sz="1400" b="0" i="0" u="none" strike="noStrike" kern="1200" cap="none" spc="0" normalizeH="0" baseline="0" noProof="0">
              <a:ln>
                <a:noFill/>
              </a:ln>
              <a:solidFill>
                <a:prstClr val="white"/>
              </a:solidFill>
              <a:effectLst/>
              <a:uLnTx/>
              <a:uFillTx/>
              <a:latin typeface="Arial" pitchFamily="34" charset="0"/>
              <a:ea typeface="黑体" panose="02010609060101010101" pitchFamily="49" charset="-122"/>
              <a:cs typeface="Arial" pitchFamily="34" charset="0"/>
            </a:endParaRPr>
          </a:p>
        </p:txBody>
      </p:sp>
      <p:sp>
        <p:nvSpPr>
          <p:cNvPr id="26" name="Rectangle 25">
            <a:extLst>
              <a:ext uri="{FF2B5EF4-FFF2-40B4-BE49-F238E27FC236}">
                <a16:creationId xmlns:a16="http://schemas.microsoft.com/office/drawing/2014/main" id="{1D7340DB-8AAF-C158-3493-895EC9252FE3}"/>
              </a:ext>
            </a:extLst>
          </p:cNvPr>
          <p:cNvSpPr/>
          <p:nvPr/>
        </p:nvSpPr>
        <p:spPr>
          <a:xfrm>
            <a:off x="508073" y="4826609"/>
            <a:ext cx="10913032" cy="476091"/>
          </a:xfrm>
          <a:prstGeom prst="rect">
            <a:avLst/>
          </a:prstGeom>
          <a:gradFill>
            <a:gsLst>
              <a:gs pos="100000">
                <a:srgbClr val="7A126B">
                  <a:alpha val="96000"/>
                </a:srgbClr>
              </a:gs>
              <a:gs pos="30000">
                <a:srgbClr val="B8252E">
                  <a:alpha val="90000"/>
                </a:srgbClr>
              </a:gs>
            </a:gsLst>
            <a:lin ang="0" scaled="1"/>
          </a:gradFill>
          <a:ln w="25400" cap="flat" cmpd="sng" algn="ctr">
            <a:noFill/>
            <a:prstDash val="solid"/>
          </a:ln>
          <a:effectLst/>
        </p:spPr>
        <p:txBody>
          <a:bodyPr lIns="365570" tIns="91392" rIns="365570" bIns="91392" rtlCol="0" anchor="t" anchorCtr="0"/>
          <a:lstStyle/>
          <a:p>
            <a:pPr marL="0" marR="0" lvl="0" indent="0" algn="ctr" defTabSz="1218255" rtl="0" eaLnBrk="1" fontAlgn="auto" latinLnBrk="0" hangingPunct="1">
              <a:lnSpc>
                <a:spcPct val="100000"/>
              </a:lnSpc>
              <a:spcBef>
                <a:spcPts val="0"/>
              </a:spcBef>
              <a:spcAft>
                <a:spcPts val="120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AI Powered</a:t>
            </a:r>
            <a:br>
              <a:rPr kumimoji="0" lang="en-GB" sz="1200" b="1" i="0" u="none" strike="noStrike" kern="1200" cap="none" spc="0" normalizeH="0" baseline="0" noProof="0">
                <a:ln>
                  <a:noFill/>
                </a:ln>
                <a:solidFill>
                  <a:prstClr val="white"/>
                </a:solidFill>
                <a:effectLst/>
                <a:uLnTx/>
                <a:uFillTx/>
                <a:latin typeface="Arial"/>
                <a:ea typeface="+mn-ea"/>
                <a:cs typeface="+mn-cs"/>
              </a:rPr>
            </a:br>
            <a:endParaRPr kumimoji="0" lang="en-US" sz="1200" b="1" i="0" u="none" strike="noStrike" kern="1200" cap="none" spc="0" normalizeH="0" baseline="0" noProof="0">
              <a:ln>
                <a:noFill/>
              </a:ln>
              <a:solidFill>
                <a:prstClr val="white"/>
              </a:solidFill>
              <a:effectLst/>
              <a:uLnTx/>
              <a:uFillTx/>
              <a:latin typeface="Arial"/>
              <a:ea typeface="+mn-ea"/>
              <a:cs typeface="Helvetica"/>
            </a:endParaRPr>
          </a:p>
        </p:txBody>
      </p:sp>
      <p:sp>
        <p:nvSpPr>
          <p:cNvPr id="36" name="Slide Number Placeholder 2">
            <a:extLst>
              <a:ext uri="{FF2B5EF4-FFF2-40B4-BE49-F238E27FC236}">
                <a16:creationId xmlns:a16="http://schemas.microsoft.com/office/drawing/2014/main" id="{0D0E7E87-93E5-E624-E72A-CF1061E9C734}"/>
              </a:ext>
            </a:extLst>
          </p:cNvPr>
          <p:cNvSpPr txBox="1">
            <a:spLocks/>
          </p:cNvSpPr>
          <p:nvPr/>
        </p:nvSpPr>
        <p:spPr>
          <a:xfrm>
            <a:off x="11751501" y="6473159"/>
            <a:ext cx="438912" cy="1554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8621"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200" b="0" i="0" u="none" strike="noStrike" kern="1200" cap="none" spc="0" normalizeH="0" baseline="0" noProof="0">
                <a:ln>
                  <a:noFill/>
                </a:ln>
                <a:solidFill>
                  <a:prstClr val="white"/>
                </a:solidFill>
                <a:effectLst/>
                <a:uLnTx/>
                <a:uFillTx/>
                <a:latin typeface="Arial"/>
                <a:ea typeface="+mn-ea"/>
                <a:cs typeface="+mn-cs"/>
              </a:rPr>
              <a:pPr marL="0" marR="0" lvl="0" indent="0" algn="l" defTabSz="1218621"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638888234"/>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1000"/>
                                        <p:tgtEl>
                                          <p:spTgt spid="26"/>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6"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348B0-3945-C93D-302E-0FA2970D745A}"/>
              </a:ext>
            </a:extLst>
          </p:cNvPr>
          <p:cNvSpPr>
            <a:spLocks noGrp="1"/>
          </p:cNvSpPr>
          <p:nvPr>
            <p:ph type="title"/>
          </p:nvPr>
        </p:nvSpPr>
        <p:spPr/>
        <p:txBody>
          <a:bodyPr/>
          <a:lstStyle/>
          <a:p>
            <a:r>
              <a:rPr lang="en-US"/>
              <a:t>Financing Quote PDF Output</a:t>
            </a:r>
          </a:p>
        </p:txBody>
      </p:sp>
      <p:sp>
        <p:nvSpPr>
          <p:cNvPr id="3" name="Slide Number Placeholder 2">
            <a:extLst>
              <a:ext uri="{FF2B5EF4-FFF2-40B4-BE49-F238E27FC236}">
                <a16:creationId xmlns:a16="http://schemas.microsoft.com/office/drawing/2014/main" id="{99780D6F-D5AC-71DD-1B50-812F16679D7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6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pic>
        <p:nvPicPr>
          <p:cNvPr id="5" name="Picture 4">
            <a:extLst>
              <a:ext uri="{FF2B5EF4-FFF2-40B4-BE49-F238E27FC236}">
                <a16:creationId xmlns:a16="http://schemas.microsoft.com/office/drawing/2014/main" id="{108C3839-36D0-4F89-58A9-A4CBF602D9D8}"/>
              </a:ext>
            </a:extLst>
          </p:cNvPr>
          <p:cNvPicPr>
            <a:picLocks noChangeAspect="1"/>
          </p:cNvPicPr>
          <p:nvPr/>
        </p:nvPicPr>
        <p:blipFill>
          <a:blip r:embed="rId3"/>
          <a:stretch>
            <a:fillRect/>
          </a:stretch>
        </p:blipFill>
        <p:spPr>
          <a:xfrm>
            <a:off x="678073" y="909034"/>
            <a:ext cx="4688217" cy="2281490"/>
          </a:xfrm>
          <a:prstGeom prst="rect">
            <a:avLst/>
          </a:prstGeom>
        </p:spPr>
      </p:pic>
      <p:pic>
        <p:nvPicPr>
          <p:cNvPr id="7" name="Picture 6">
            <a:extLst>
              <a:ext uri="{FF2B5EF4-FFF2-40B4-BE49-F238E27FC236}">
                <a16:creationId xmlns:a16="http://schemas.microsoft.com/office/drawing/2014/main" id="{4CCB0F12-1708-5DE2-B567-3B2FBBD2AF57}"/>
              </a:ext>
            </a:extLst>
          </p:cNvPr>
          <p:cNvPicPr>
            <a:picLocks noChangeAspect="1"/>
          </p:cNvPicPr>
          <p:nvPr/>
        </p:nvPicPr>
        <p:blipFill>
          <a:blip r:embed="rId4"/>
          <a:stretch>
            <a:fillRect/>
          </a:stretch>
        </p:blipFill>
        <p:spPr>
          <a:xfrm>
            <a:off x="678073" y="3232564"/>
            <a:ext cx="4758038" cy="3625436"/>
          </a:xfrm>
          <a:prstGeom prst="rect">
            <a:avLst/>
          </a:prstGeom>
        </p:spPr>
      </p:pic>
      <p:sp>
        <p:nvSpPr>
          <p:cNvPr id="10" name="TextBox 9">
            <a:extLst>
              <a:ext uri="{FF2B5EF4-FFF2-40B4-BE49-F238E27FC236}">
                <a16:creationId xmlns:a16="http://schemas.microsoft.com/office/drawing/2014/main" id="{A99D6A78-AC68-888F-CF23-AB41689EF497}"/>
              </a:ext>
            </a:extLst>
          </p:cNvPr>
          <p:cNvSpPr txBox="1"/>
          <p:nvPr/>
        </p:nvSpPr>
        <p:spPr>
          <a:xfrm>
            <a:off x="5563385" y="906895"/>
            <a:ext cx="586234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itchFamily="34" charset="0"/>
                <a:ea typeface="+mn-ea"/>
                <a:cs typeface="Arial" pitchFamily="34" charset="0"/>
              </a:rPr>
              <a:t>Financing Quote PDF Output can be generated by selecting option &amp; click download button.</a:t>
            </a:r>
          </a:p>
        </p:txBody>
      </p:sp>
      <p:pic>
        <p:nvPicPr>
          <p:cNvPr id="6" name="Picture 5" descr="A document with text on it&#10;&#10;AI-generated content may be incorrect.">
            <a:extLst>
              <a:ext uri="{FF2B5EF4-FFF2-40B4-BE49-F238E27FC236}">
                <a16:creationId xmlns:a16="http://schemas.microsoft.com/office/drawing/2014/main" id="{18FD568E-22C8-9A89-E359-6EB76730DC4B}"/>
              </a:ext>
            </a:extLst>
          </p:cNvPr>
          <p:cNvPicPr>
            <a:picLocks noChangeAspect="1"/>
          </p:cNvPicPr>
          <p:nvPr/>
        </p:nvPicPr>
        <p:blipFill>
          <a:blip r:embed="rId5"/>
          <a:stretch>
            <a:fillRect/>
          </a:stretch>
        </p:blipFill>
        <p:spPr>
          <a:xfrm>
            <a:off x="5708453" y="1433592"/>
            <a:ext cx="4145973" cy="5153187"/>
          </a:xfrm>
          <a:prstGeom prst="rect">
            <a:avLst/>
          </a:prstGeom>
        </p:spPr>
      </p:pic>
    </p:spTree>
    <p:extLst>
      <p:ext uri="{BB962C8B-B14F-4D97-AF65-F5344CB8AC3E}">
        <p14:creationId xmlns:p14="http://schemas.microsoft.com/office/powerpoint/2010/main" val="1138191608"/>
      </p:ext>
    </p:extLst>
  </p:cSld>
  <p:clrMapOvr>
    <a:masterClrMapping/>
  </p:clrMapOvr>
  <p:transition spd="med"/>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6C0A0-9470-7777-6E0D-E41A47C0950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23537F-2146-B42F-C75B-313E567E064C}"/>
              </a:ext>
            </a:extLst>
          </p:cNvPr>
          <p:cNvSpPr>
            <a:spLocks noGrp="1"/>
          </p:cNvSpPr>
          <p:nvPr>
            <p:ph type="body" idx="10"/>
          </p:nvPr>
        </p:nvSpPr>
        <p:spPr/>
        <p:txBody>
          <a:bodyPr/>
          <a:lstStyle/>
          <a:p>
            <a:r>
              <a:rPr lang="en-US"/>
              <a:t>Below export file is generated &amp; attached to email sent out to LFS Funder.</a:t>
            </a:r>
          </a:p>
        </p:txBody>
      </p:sp>
      <p:sp>
        <p:nvSpPr>
          <p:cNvPr id="3" name="Title 2">
            <a:extLst>
              <a:ext uri="{FF2B5EF4-FFF2-40B4-BE49-F238E27FC236}">
                <a16:creationId xmlns:a16="http://schemas.microsoft.com/office/drawing/2014/main" id="{0995F267-9ECC-8D5B-5A2D-52F4C3C719DD}"/>
              </a:ext>
            </a:extLst>
          </p:cNvPr>
          <p:cNvSpPr>
            <a:spLocks noGrp="1"/>
          </p:cNvSpPr>
          <p:nvPr>
            <p:ph type="title"/>
          </p:nvPr>
        </p:nvSpPr>
        <p:spPr/>
        <p:txBody>
          <a:bodyPr/>
          <a:lstStyle/>
          <a:p>
            <a:r>
              <a:rPr lang="en-US"/>
              <a:t>Export Template</a:t>
            </a:r>
          </a:p>
        </p:txBody>
      </p:sp>
      <p:sp>
        <p:nvSpPr>
          <p:cNvPr id="4" name="Slide Number Placeholder 3">
            <a:extLst>
              <a:ext uri="{FF2B5EF4-FFF2-40B4-BE49-F238E27FC236}">
                <a16:creationId xmlns:a16="http://schemas.microsoft.com/office/drawing/2014/main" id="{31E47D10-D547-0AE0-42D8-5A243A211D7B}"/>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6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D8CFBB72-0D79-D234-DBBF-AFA720FADE87}"/>
              </a:ext>
            </a:extLst>
          </p:cNvPr>
          <p:cNvSpPr txBox="1"/>
          <p:nvPr/>
        </p:nvSpPr>
        <p:spPr>
          <a:xfrm>
            <a:off x="641858" y="5926438"/>
            <a:ext cx="148399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B0F0"/>
                </a:solidFill>
                <a:effectLst/>
                <a:uLnTx/>
                <a:uFillTx/>
                <a:latin typeface="Arial" pitchFamily="34" charset="0"/>
                <a:ea typeface="+mn-ea"/>
                <a:cs typeface="Arial" pitchFamily="34" charset="0"/>
                <a:hlinkClick r:id="rId2">
                  <a:extLst>
                    <a:ext uri="{A12FA001-AC4F-418D-AE19-62706E023703}">
                      <ahyp:hlinkClr xmlns:ahyp="http://schemas.microsoft.com/office/drawing/2018/hyperlinkcolor" val="tx"/>
                    </a:ext>
                  </a:extLst>
                </a:hlinkClick>
              </a:rPr>
              <a:t>Link to Template</a:t>
            </a:r>
            <a:endParaRPr kumimoji="0" lang="en-US" sz="1400" b="0" i="0" u="none" strike="noStrike" kern="1200" cap="none" spc="0" normalizeH="0" baseline="0" noProof="0">
              <a:ln>
                <a:noFill/>
              </a:ln>
              <a:solidFill>
                <a:srgbClr val="00B0F0"/>
              </a:solidFill>
              <a:effectLst/>
              <a:uLnTx/>
              <a:uFillTx/>
              <a:latin typeface="Arial" pitchFamily="34" charset="0"/>
              <a:ea typeface="+mn-ea"/>
              <a:cs typeface="Arial" pitchFamily="34" charset="0"/>
            </a:endParaRPr>
          </a:p>
        </p:txBody>
      </p:sp>
      <p:pic>
        <p:nvPicPr>
          <p:cNvPr id="9" name="Picture 8">
            <a:extLst>
              <a:ext uri="{FF2B5EF4-FFF2-40B4-BE49-F238E27FC236}">
                <a16:creationId xmlns:a16="http://schemas.microsoft.com/office/drawing/2014/main" id="{E9F02394-FD2C-C571-0D88-B72118E4762B}"/>
              </a:ext>
            </a:extLst>
          </p:cNvPr>
          <p:cNvPicPr>
            <a:picLocks noChangeAspect="1"/>
          </p:cNvPicPr>
          <p:nvPr/>
        </p:nvPicPr>
        <p:blipFill>
          <a:blip r:embed="rId3"/>
          <a:stretch>
            <a:fillRect/>
          </a:stretch>
        </p:blipFill>
        <p:spPr>
          <a:xfrm>
            <a:off x="3039181" y="1645121"/>
            <a:ext cx="8631936" cy="2719718"/>
          </a:xfrm>
          <a:prstGeom prst="rect">
            <a:avLst/>
          </a:prstGeom>
        </p:spPr>
      </p:pic>
      <p:graphicFrame>
        <p:nvGraphicFramePr>
          <p:cNvPr id="11" name="Table 10">
            <a:extLst>
              <a:ext uri="{FF2B5EF4-FFF2-40B4-BE49-F238E27FC236}">
                <a16:creationId xmlns:a16="http://schemas.microsoft.com/office/drawing/2014/main" id="{637FE51E-D490-24B9-9E5B-5A8C61F49111}"/>
              </a:ext>
            </a:extLst>
          </p:cNvPr>
          <p:cNvGraphicFramePr>
            <a:graphicFrameLocks noGrp="1"/>
          </p:cNvGraphicFramePr>
          <p:nvPr/>
        </p:nvGraphicFramePr>
        <p:xfrm>
          <a:off x="641859" y="1645121"/>
          <a:ext cx="2156207" cy="4191000"/>
        </p:xfrm>
        <a:graphic>
          <a:graphicData uri="http://schemas.openxmlformats.org/drawingml/2006/table">
            <a:tbl>
              <a:tblPr/>
              <a:tblGrid>
                <a:gridCol w="2156207">
                  <a:extLst>
                    <a:ext uri="{9D8B030D-6E8A-4147-A177-3AD203B41FA5}">
                      <a16:colId xmlns:a16="http://schemas.microsoft.com/office/drawing/2014/main" val="43715646"/>
                    </a:ext>
                  </a:extLst>
                </a:gridCol>
              </a:tblGrid>
              <a:tr h="167640">
                <a:tc>
                  <a:txBody>
                    <a:bodyPr/>
                    <a:lstStyle/>
                    <a:p>
                      <a:pPr algn="l" fontAlgn="b">
                        <a:buNone/>
                      </a:pPr>
                      <a:r>
                        <a:rPr lang="en-US" sz="1000" b="0" i="0" u="none" strike="noStrike">
                          <a:solidFill>
                            <a:schemeClr val="bg1"/>
                          </a:solidFill>
                          <a:effectLst/>
                          <a:latin typeface="Arial" panose="020B0604020202020204" pitchFamily="34" charset="0"/>
                        </a:rPr>
                        <a:t>Bid Request I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7981207"/>
                  </a:ext>
                </a:extLst>
              </a:tr>
              <a:tr h="167640">
                <a:tc>
                  <a:txBody>
                    <a:bodyPr/>
                    <a:lstStyle/>
                    <a:p>
                      <a:pPr algn="l" fontAlgn="b">
                        <a:buNone/>
                      </a:pPr>
                      <a:r>
                        <a:rPr lang="en-US" sz="1000" b="0" i="0" u="none" strike="noStrike">
                          <a:solidFill>
                            <a:schemeClr val="bg1"/>
                          </a:solidFill>
                          <a:effectLst/>
                          <a:latin typeface="Arial" panose="020B0604020202020204" pitchFamily="34" charset="0"/>
                        </a:rPr>
                        <a:t>End Customer I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222903"/>
                  </a:ext>
                </a:extLst>
              </a:tr>
              <a:tr h="167640">
                <a:tc>
                  <a:txBody>
                    <a:bodyPr/>
                    <a:lstStyle/>
                    <a:p>
                      <a:pPr algn="l" fontAlgn="b">
                        <a:buNone/>
                      </a:pPr>
                      <a:r>
                        <a:rPr lang="en-US" sz="1000" b="0" i="0" u="none" strike="noStrike">
                          <a:solidFill>
                            <a:schemeClr val="bg1"/>
                          </a:solidFill>
                          <a:effectLst/>
                          <a:latin typeface="Arial" panose="020B0604020202020204" pitchFamily="34" charset="0"/>
                        </a:rPr>
                        <a:t>End Customer 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1572632"/>
                  </a:ext>
                </a:extLst>
              </a:tr>
              <a:tr h="167640">
                <a:tc>
                  <a:txBody>
                    <a:bodyPr/>
                    <a:lstStyle/>
                    <a:p>
                      <a:pPr algn="l" fontAlgn="b">
                        <a:buNone/>
                      </a:pPr>
                      <a:r>
                        <a:rPr lang="en-US" sz="1000" b="0" i="0" u="none" strike="noStrike">
                          <a:solidFill>
                            <a:schemeClr val="bg1"/>
                          </a:solidFill>
                          <a:effectLst/>
                          <a:latin typeface="Arial" panose="020B0604020202020204" pitchFamily="34" charset="0"/>
                        </a:rPr>
                        <a:t>End Customer Addres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71268078"/>
                  </a:ext>
                </a:extLst>
              </a:tr>
              <a:tr h="167640">
                <a:tc>
                  <a:txBody>
                    <a:bodyPr/>
                    <a:lstStyle/>
                    <a:p>
                      <a:pPr algn="l" fontAlgn="b">
                        <a:buNone/>
                      </a:pPr>
                      <a:r>
                        <a:rPr lang="en-US" sz="1000" b="0" i="0" u="none" strike="noStrike">
                          <a:solidFill>
                            <a:schemeClr val="bg1"/>
                          </a:solidFill>
                          <a:effectLst/>
                          <a:latin typeface="Arial" panose="020B0604020202020204" pitchFamily="34" charset="0"/>
                        </a:rPr>
                        <a:t>Quote Created D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2274861"/>
                  </a:ext>
                </a:extLst>
              </a:tr>
              <a:tr h="167640">
                <a:tc>
                  <a:txBody>
                    <a:bodyPr/>
                    <a:lstStyle/>
                    <a:p>
                      <a:pPr algn="l" fontAlgn="b">
                        <a:buNone/>
                      </a:pPr>
                      <a:r>
                        <a:rPr lang="en-US" sz="1000" b="0" i="0" u="none" strike="noStrike">
                          <a:solidFill>
                            <a:schemeClr val="bg1"/>
                          </a:solidFill>
                          <a:effectLst/>
                          <a:latin typeface="Arial" panose="020B0604020202020204" pitchFamily="34" charset="0"/>
                        </a:rPr>
                        <a:t>Last Modified D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4275060"/>
                  </a:ext>
                </a:extLst>
              </a:tr>
              <a:tr h="167640">
                <a:tc>
                  <a:txBody>
                    <a:bodyPr/>
                    <a:lstStyle/>
                    <a:p>
                      <a:pPr algn="l" fontAlgn="b">
                        <a:buNone/>
                      </a:pPr>
                      <a:r>
                        <a:rPr lang="en-US" sz="1000" b="0" i="0" u="none" strike="noStrike">
                          <a:solidFill>
                            <a:schemeClr val="bg1"/>
                          </a:solidFill>
                          <a:effectLst/>
                          <a:latin typeface="Arial" panose="020B0604020202020204" pitchFamily="34" charset="0"/>
                        </a:rPr>
                        <a:t>Bid Request Expiry D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490497"/>
                  </a:ext>
                </a:extLst>
              </a:tr>
              <a:tr h="167640">
                <a:tc>
                  <a:txBody>
                    <a:bodyPr/>
                    <a:lstStyle/>
                    <a:p>
                      <a:pPr algn="l" fontAlgn="b">
                        <a:buNone/>
                      </a:pPr>
                      <a:r>
                        <a:rPr lang="en-US" sz="1000" b="0" i="0" u="none" strike="noStrike">
                          <a:solidFill>
                            <a:schemeClr val="bg1"/>
                          </a:solidFill>
                          <a:effectLst/>
                          <a:latin typeface="Arial" panose="020B0604020202020204" pitchFamily="34" charset="0"/>
                        </a:rPr>
                        <a:t>Contract End D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9391162"/>
                  </a:ext>
                </a:extLst>
              </a:tr>
              <a:tr h="167640">
                <a:tc>
                  <a:txBody>
                    <a:bodyPr/>
                    <a:lstStyle/>
                    <a:p>
                      <a:pPr algn="l" fontAlgn="b">
                        <a:buNone/>
                      </a:pPr>
                      <a:r>
                        <a:rPr lang="en-US" sz="1000" b="0" i="0" u="none" strike="noStrike">
                          <a:solidFill>
                            <a:schemeClr val="bg1"/>
                          </a:solidFill>
                          <a:effectLst/>
                          <a:latin typeface="Arial" panose="020B0604020202020204" pitchFamily="34" charset="0"/>
                        </a:rPr>
                        <a:t>Countr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4749963"/>
                  </a:ext>
                </a:extLst>
              </a:tr>
              <a:tr h="167640">
                <a:tc>
                  <a:txBody>
                    <a:bodyPr/>
                    <a:lstStyle/>
                    <a:p>
                      <a:pPr algn="l" fontAlgn="b">
                        <a:buNone/>
                      </a:pPr>
                      <a:r>
                        <a:rPr lang="en-US" sz="1000" b="0" i="0" u="none" strike="noStrike">
                          <a:solidFill>
                            <a:schemeClr val="bg1"/>
                          </a:solidFill>
                          <a:effectLst/>
                          <a:latin typeface="Arial" panose="020B0604020202020204" pitchFamily="34" charset="0"/>
                        </a:rPr>
                        <a:t>Reseller I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97609377"/>
                  </a:ext>
                </a:extLst>
              </a:tr>
              <a:tr h="167640">
                <a:tc>
                  <a:txBody>
                    <a:bodyPr/>
                    <a:lstStyle/>
                    <a:p>
                      <a:pPr algn="l" fontAlgn="b">
                        <a:buNone/>
                      </a:pPr>
                      <a:r>
                        <a:rPr lang="en-US" sz="1000" b="0" i="0" u="none" strike="noStrike">
                          <a:solidFill>
                            <a:schemeClr val="bg1"/>
                          </a:solidFill>
                          <a:effectLst/>
                          <a:latin typeface="Arial" panose="020B0604020202020204" pitchFamily="34" charset="0"/>
                        </a:rPr>
                        <a:t>Reseller 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1227650"/>
                  </a:ext>
                </a:extLst>
              </a:tr>
              <a:tr h="167640">
                <a:tc>
                  <a:txBody>
                    <a:bodyPr/>
                    <a:lstStyle/>
                    <a:p>
                      <a:pPr algn="l" fontAlgn="b">
                        <a:buNone/>
                      </a:pPr>
                      <a:r>
                        <a:rPr lang="en-US" sz="1000" b="0" i="0" u="none" strike="noStrike">
                          <a:solidFill>
                            <a:schemeClr val="bg1"/>
                          </a:solidFill>
                          <a:effectLst/>
                          <a:latin typeface="Arial" panose="020B0604020202020204" pitchFamily="34" charset="0"/>
                        </a:rPr>
                        <a:t>Reseller Contact 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192397"/>
                  </a:ext>
                </a:extLst>
              </a:tr>
              <a:tr h="167640">
                <a:tc>
                  <a:txBody>
                    <a:bodyPr/>
                    <a:lstStyle/>
                    <a:p>
                      <a:pPr algn="l" fontAlgn="b">
                        <a:buNone/>
                      </a:pPr>
                      <a:r>
                        <a:rPr lang="en-US" sz="1000" b="0" i="0" u="none" strike="noStrike">
                          <a:solidFill>
                            <a:schemeClr val="bg1"/>
                          </a:solidFill>
                          <a:effectLst/>
                          <a:latin typeface="Arial" panose="020B0604020202020204" pitchFamily="34" charset="0"/>
                        </a:rPr>
                        <a:t>Reseller Contact Phone 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1655816"/>
                  </a:ext>
                </a:extLst>
              </a:tr>
              <a:tr h="167640">
                <a:tc>
                  <a:txBody>
                    <a:bodyPr/>
                    <a:lstStyle/>
                    <a:p>
                      <a:pPr algn="l" fontAlgn="b">
                        <a:buNone/>
                      </a:pPr>
                      <a:r>
                        <a:rPr lang="en-US" sz="1000" b="0" i="0" u="none" strike="noStrike">
                          <a:solidFill>
                            <a:schemeClr val="bg1"/>
                          </a:solidFill>
                          <a:effectLst/>
                          <a:latin typeface="Arial" panose="020B0604020202020204" pitchFamily="34" charset="0"/>
                        </a:rPr>
                        <a:t>Reseller Contact Emai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8071749"/>
                  </a:ext>
                </a:extLst>
              </a:tr>
              <a:tr h="167640">
                <a:tc>
                  <a:txBody>
                    <a:bodyPr/>
                    <a:lstStyle/>
                    <a:p>
                      <a:pPr algn="l" fontAlgn="b">
                        <a:buNone/>
                      </a:pPr>
                      <a:r>
                        <a:rPr lang="en-US" sz="1000" b="0" i="0" u="none" strike="noStrike">
                          <a:solidFill>
                            <a:schemeClr val="bg1"/>
                          </a:solidFill>
                          <a:effectLst/>
                          <a:latin typeface="Arial" panose="020B0604020202020204" pitchFamily="34" charset="0"/>
                        </a:rPr>
                        <a:t>Requested Leasing Term (Month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0229502"/>
                  </a:ext>
                </a:extLst>
              </a:tr>
              <a:tr h="167640">
                <a:tc>
                  <a:txBody>
                    <a:bodyPr/>
                    <a:lstStyle/>
                    <a:p>
                      <a:pPr algn="l" fontAlgn="b">
                        <a:buNone/>
                      </a:pPr>
                      <a:r>
                        <a:rPr lang="en-US" sz="1000" b="0" i="0" u="none" strike="noStrike">
                          <a:solidFill>
                            <a:schemeClr val="bg1"/>
                          </a:solidFill>
                          <a:effectLst/>
                          <a:latin typeface="Arial" panose="020B0604020202020204" pitchFamily="34" charset="0"/>
                        </a:rPr>
                        <a:t>Requested Billing Cyc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954043"/>
                  </a:ext>
                </a:extLst>
              </a:tr>
              <a:tr h="167640">
                <a:tc>
                  <a:txBody>
                    <a:bodyPr/>
                    <a:lstStyle/>
                    <a:p>
                      <a:pPr algn="l" fontAlgn="b">
                        <a:buNone/>
                      </a:pPr>
                      <a:r>
                        <a:rPr lang="en-US" sz="1000" b="0" i="0" u="none" strike="noStrike">
                          <a:solidFill>
                            <a:schemeClr val="bg1"/>
                          </a:solidFill>
                          <a:effectLst/>
                          <a:latin typeface="Arial" panose="020B0604020202020204" pitchFamily="34" charset="0"/>
                        </a:rPr>
                        <a:t>Statu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3559767"/>
                  </a:ext>
                </a:extLst>
              </a:tr>
              <a:tr h="167640">
                <a:tc>
                  <a:txBody>
                    <a:bodyPr/>
                    <a:lstStyle/>
                    <a:p>
                      <a:pPr algn="l" fontAlgn="b">
                        <a:buNone/>
                      </a:pPr>
                      <a:r>
                        <a:rPr lang="en-US" sz="1000" b="0" i="0" u="none" strike="noStrike">
                          <a:solidFill>
                            <a:schemeClr val="bg1"/>
                          </a:solidFill>
                          <a:effectLst/>
                          <a:latin typeface="Arial" panose="020B0604020202020204" pitchFamily="34" charset="0"/>
                        </a:rPr>
                        <a:t>Currenc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3205949"/>
                  </a:ext>
                </a:extLst>
              </a:tr>
              <a:tr h="167640">
                <a:tc>
                  <a:txBody>
                    <a:bodyPr/>
                    <a:lstStyle/>
                    <a:p>
                      <a:pPr algn="l" fontAlgn="b">
                        <a:buNone/>
                      </a:pPr>
                      <a:r>
                        <a:rPr lang="en-US" sz="1000" b="0" i="0" u="none" strike="noStrike">
                          <a:solidFill>
                            <a:schemeClr val="bg1"/>
                          </a:solidFill>
                          <a:effectLst/>
                          <a:latin typeface="Arial" panose="020B0604020202020204" pitchFamily="34" charset="0"/>
                        </a:rPr>
                        <a:t>Total Reseller Pric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75546129"/>
                  </a:ext>
                </a:extLst>
              </a:tr>
              <a:tr h="167640">
                <a:tc>
                  <a:txBody>
                    <a:bodyPr/>
                    <a:lstStyle/>
                    <a:p>
                      <a:pPr algn="l" fontAlgn="b">
                        <a:buNone/>
                      </a:pPr>
                      <a:r>
                        <a:rPr lang="en-US" sz="1000" b="0" i="0" u="none" strike="noStrike">
                          <a:solidFill>
                            <a:schemeClr val="bg1"/>
                          </a:solidFill>
                          <a:effectLst/>
                          <a:latin typeface="Arial" panose="020B0604020202020204" pitchFamily="34" charset="0"/>
                        </a:rPr>
                        <a:t>Part 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96427799"/>
                  </a:ext>
                </a:extLst>
              </a:tr>
              <a:tr h="167640">
                <a:tc>
                  <a:txBody>
                    <a:bodyPr/>
                    <a:lstStyle/>
                    <a:p>
                      <a:pPr algn="l" fontAlgn="b">
                        <a:buNone/>
                      </a:pPr>
                      <a:r>
                        <a:rPr lang="en-US" sz="1000" b="0" i="0" u="none" strike="noStrike">
                          <a:solidFill>
                            <a:schemeClr val="bg1"/>
                          </a:solidFill>
                          <a:effectLst/>
                          <a:latin typeface="Arial" panose="020B0604020202020204" pitchFamily="34" charset="0"/>
                        </a:rPr>
                        <a:t>Categor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3149387"/>
                  </a:ext>
                </a:extLst>
              </a:tr>
              <a:tr h="167640">
                <a:tc>
                  <a:txBody>
                    <a:bodyPr/>
                    <a:lstStyle/>
                    <a:p>
                      <a:pPr algn="l" fontAlgn="b">
                        <a:buNone/>
                      </a:pPr>
                      <a:r>
                        <a:rPr lang="en-US" sz="1000" b="0" i="0" u="none" strike="noStrike">
                          <a:solidFill>
                            <a:schemeClr val="bg1"/>
                          </a:solidFill>
                          <a:effectLst/>
                          <a:latin typeface="Arial" panose="020B0604020202020204" pitchFamily="34" charset="0"/>
                        </a:rPr>
                        <a:t>Descrip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1343296"/>
                  </a:ext>
                </a:extLst>
              </a:tr>
              <a:tr h="167640">
                <a:tc>
                  <a:txBody>
                    <a:bodyPr/>
                    <a:lstStyle/>
                    <a:p>
                      <a:pPr algn="l" fontAlgn="b">
                        <a:buNone/>
                      </a:pPr>
                      <a:r>
                        <a:rPr lang="en-US" sz="1000" b="0" i="0" u="none" strike="noStrike">
                          <a:solidFill>
                            <a:schemeClr val="bg1"/>
                          </a:solidFill>
                          <a:effectLst/>
                          <a:latin typeface="Arial" panose="020B0604020202020204" pitchFamily="34" charset="0"/>
                        </a:rPr>
                        <a:t>Requested Quantit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1174238"/>
                  </a:ext>
                </a:extLst>
              </a:tr>
              <a:tr h="167640">
                <a:tc>
                  <a:txBody>
                    <a:bodyPr/>
                    <a:lstStyle/>
                    <a:p>
                      <a:pPr algn="l" fontAlgn="b">
                        <a:buNone/>
                      </a:pPr>
                      <a:r>
                        <a:rPr lang="en-US" sz="1000" b="0" i="0" u="none" strike="noStrike">
                          <a:solidFill>
                            <a:schemeClr val="bg1"/>
                          </a:solidFill>
                          <a:effectLst/>
                          <a:latin typeface="Arial" panose="020B0604020202020204" pitchFamily="34" charset="0"/>
                        </a:rPr>
                        <a:t>Reseller Price (per uni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1607960"/>
                  </a:ext>
                </a:extLst>
              </a:tr>
              <a:tr h="167640">
                <a:tc>
                  <a:txBody>
                    <a:bodyPr/>
                    <a:lstStyle/>
                    <a:p>
                      <a:pPr algn="l" fontAlgn="b">
                        <a:buNone/>
                      </a:pPr>
                      <a:r>
                        <a:rPr lang="en-US" sz="1000" b="0" i="0" u="none" strike="noStrike">
                          <a:solidFill>
                            <a:schemeClr val="bg1"/>
                          </a:solidFill>
                          <a:effectLst/>
                          <a:latin typeface="Arial" panose="020B0604020202020204" pitchFamily="34" charset="0"/>
                        </a:rPr>
                        <a:t>Reseller Price (Qty X Unit Pric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536141"/>
                  </a:ext>
                </a:extLst>
              </a:tr>
            </a:tbl>
          </a:graphicData>
        </a:graphic>
      </p:graphicFrame>
      <p:sp>
        <p:nvSpPr>
          <p:cNvPr id="12" name="TextBox 11">
            <a:extLst>
              <a:ext uri="{FF2B5EF4-FFF2-40B4-BE49-F238E27FC236}">
                <a16:creationId xmlns:a16="http://schemas.microsoft.com/office/drawing/2014/main" id="{A088F080-89CA-31C6-19DF-F07939C6B61A}"/>
              </a:ext>
            </a:extLst>
          </p:cNvPr>
          <p:cNvSpPr txBox="1"/>
          <p:nvPr/>
        </p:nvSpPr>
        <p:spPr>
          <a:xfrm>
            <a:off x="557461" y="1337345"/>
            <a:ext cx="21259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a:ln>
                  <a:noFill/>
                </a:ln>
                <a:solidFill>
                  <a:srgbClr val="00B0F0"/>
                </a:solidFill>
                <a:effectLst/>
                <a:uLnTx/>
                <a:uFillTx/>
                <a:latin typeface="Arial" pitchFamily="34" charset="0"/>
                <a:ea typeface="+mn-ea"/>
                <a:cs typeface="Arial" pitchFamily="34" charset="0"/>
              </a:rPr>
              <a:t>Exported Data Elements</a:t>
            </a:r>
          </a:p>
        </p:txBody>
      </p:sp>
      <p:sp>
        <p:nvSpPr>
          <p:cNvPr id="13" name="TextBox 12">
            <a:extLst>
              <a:ext uri="{FF2B5EF4-FFF2-40B4-BE49-F238E27FC236}">
                <a16:creationId xmlns:a16="http://schemas.microsoft.com/office/drawing/2014/main" id="{540C8AC5-C1C5-27A6-F844-BAFCFB966F60}"/>
              </a:ext>
            </a:extLst>
          </p:cNvPr>
          <p:cNvSpPr txBox="1"/>
          <p:nvPr/>
        </p:nvSpPr>
        <p:spPr>
          <a:xfrm>
            <a:off x="3002606" y="1337345"/>
            <a:ext cx="22887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a:ln>
                  <a:noFill/>
                </a:ln>
                <a:solidFill>
                  <a:srgbClr val="00B0F0"/>
                </a:solidFill>
                <a:effectLst/>
                <a:uLnTx/>
                <a:uFillTx/>
                <a:latin typeface="Arial" pitchFamily="34" charset="0"/>
                <a:ea typeface="+mn-ea"/>
                <a:cs typeface="Arial" pitchFamily="34" charset="0"/>
              </a:rPr>
              <a:t>Exported Template Format</a:t>
            </a:r>
          </a:p>
        </p:txBody>
      </p:sp>
    </p:spTree>
    <p:extLst>
      <p:ext uri="{BB962C8B-B14F-4D97-AF65-F5344CB8AC3E}">
        <p14:creationId xmlns:p14="http://schemas.microsoft.com/office/powerpoint/2010/main" val="77066170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A068FA-983D-722E-3250-C5745E80AC60}"/>
              </a:ext>
            </a:extLst>
          </p:cNvPr>
          <p:cNvSpPr>
            <a:spLocks noGrp="1"/>
          </p:cNvSpPr>
          <p:nvPr>
            <p:ph type="sldNum" sz="quarter" idx="10"/>
          </p:nvPr>
        </p:nvSpPr>
        <p:spPr/>
        <p: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1218987"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735C5B28-8375-3C6F-8AA1-8813C4409A2D}"/>
              </a:ext>
            </a:extLst>
          </p:cNvPr>
          <p:cNvSpPr/>
          <p:nvPr/>
        </p:nvSpPr>
        <p:spPr>
          <a:xfrm>
            <a:off x="662298" y="716364"/>
            <a:ext cx="4155131" cy="1027949"/>
          </a:xfrm>
          <a:prstGeom prst="rect">
            <a:avLst/>
          </a:prstGeom>
        </p:spPr>
        <p:txBody>
          <a:bodyPr wrap="square" lIns="91416" tIns="45708" rIns="91416" bIns="45708" anchor="t">
            <a:spAutoFit/>
          </a:bodyPr>
          <a:lstStyle/>
          <a:p>
            <a:pPr marL="0" marR="0" lvl="0" indent="0" algn="l" defTabSz="1218529" rtl="0" eaLnBrk="1" fontAlgn="auto" latinLnBrk="0" hangingPunct="1">
              <a:lnSpc>
                <a:spcPct val="80000"/>
              </a:lnSpc>
              <a:spcBef>
                <a:spcPts val="0"/>
              </a:spcBef>
              <a:spcAft>
                <a:spcPts val="0"/>
              </a:spcAft>
              <a:buClr>
                <a:srgbClr val="000000"/>
              </a:buClr>
              <a:buSzTx/>
              <a:buFontTx/>
              <a:buNone/>
              <a:tabLst/>
              <a:defRPr/>
            </a:pPr>
            <a:r>
              <a:rPr kumimoji="0" lang="en-US" sz="4000" b="1" i="0" u="none" strike="noStrike" kern="0" cap="none" spc="-10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sym typeface="Arial"/>
              </a:rPr>
              <a:t>Lenovo TruScale</a:t>
            </a:r>
          </a:p>
          <a:p>
            <a:pPr marL="0" marR="0" lvl="0" indent="0" algn="l" defTabSz="1218529" rtl="0" eaLnBrk="1" fontAlgn="auto" latinLnBrk="0" hangingPunct="1">
              <a:lnSpc>
                <a:spcPct val="80000"/>
              </a:lnSpc>
              <a:spcBef>
                <a:spcPts val="0"/>
              </a:spcBef>
              <a:spcAft>
                <a:spcPts val="0"/>
              </a:spcAft>
              <a:buClr>
                <a:srgbClr val="000000"/>
              </a:buClr>
              <a:buSzTx/>
              <a:buFontTx/>
              <a:buNone/>
              <a:tabLst/>
              <a:defRPr/>
            </a:pPr>
            <a:r>
              <a:rPr kumimoji="0" lang="en-US" sz="3600" b="1" i="0" u="none" strike="noStrike" kern="0" cap="none" spc="-100" normalizeH="0" baseline="0" noProof="0">
                <a:ln>
                  <a:noFill/>
                </a:ln>
                <a:solidFill>
                  <a:srgbClr val="D9C1D8"/>
                </a:solidFill>
                <a:effectLst/>
                <a:uLnTx/>
                <a:uFillTx/>
                <a:latin typeface="Arial" panose="020B0604020202020204" pitchFamily="34" charset="0"/>
                <a:ea typeface="Calibri" panose="020F0502020204030204" pitchFamily="34" charset="0"/>
                <a:cs typeface="Arial" panose="020B0604020202020204" pitchFamily="34" charset="0"/>
                <a:sym typeface="Arial"/>
              </a:rPr>
              <a:t>Modular approach</a:t>
            </a:r>
            <a:endParaRPr kumimoji="0" lang="en-US" sz="3200" b="1" i="0" u="none" strike="noStrike" kern="0" cap="none" spc="-100" normalizeH="0" baseline="0" noProof="0">
              <a:ln>
                <a:noFill/>
              </a:ln>
              <a:solidFill>
                <a:srgbClr val="D9C1D8"/>
              </a:solidFill>
              <a:effectLst/>
              <a:uLnTx/>
              <a:uFillTx/>
              <a:latin typeface="Arial"/>
              <a:ea typeface="Calibri" panose="020F0502020204030204" pitchFamily="34" charset="0"/>
              <a:cs typeface="Arial"/>
            </a:endParaRPr>
          </a:p>
        </p:txBody>
      </p:sp>
      <p:grpSp>
        <p:nvGrpSpPr>
          <p:cNvPr id="7" name="Group 6">
            <a:extLst>
              <a:ext uri="{FF2B5EF4-FFF2-40B4-BE49-F238E27FC236}">
                <a16:creationId xmlns:a16="http://schemas.microsoft.com/office/drawing/2014/main" id="{8D4898EE-DEFC-A1FA-5B08-4E63A0289603}"/>
              </a:ext>
            </a:extLst>
          </p:cNvPr>
          <p:cNvGrpSpPr/>
          <p:nvPr/>
        </p:nvGrpSpPr>
        <p:grpSpPr>
          <a:xfrm>
            <a:off x="4641099" y="555751"/>
            <a:ext cx="6508774" cy="5523030"/>
            <a:chOff x="2965021" y="756771"/>
            <a:chExt cx="6508774" cy="5523030"/>
          </a:xfrm>
        </p:grpSpPr>
        <p:sp>
          <p:nvSpPr>
            <p:cNvPr id="8" name="Oval 7">
              <a:extLst>
                <a:ext uri="{FF2B5EF4-FFF2-40B4-BE49-F238E27FC236}">
                  <a16:creationId xmlns:a16="http://schemas.microsoft.com/office/drawing/2014/main" id="{7CCEE343-A6EC-D14B-A965-59EBCDC5E35B}"/>
                </a:ext>
              </a:extLst>
            </p:cNvPr>
            <p:cNvSpPr/>
            <p:nvPr/>
          </p:nvSpPr>
          <p:spPr>
            <a:xfrm>
              <a:off x="5415795" y="3377418"/>
              <a:ext cx="1656429" cy="1656429"/>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100000"/>
                </a:lnSpc>
                <a:spcBef>
                  <a:spcPts val="0"/>
                </a:spcBef>
                <a:spcAft>
                  <a:spcPts val="600"/>
                </a:spcAft>
                <a:buClrTx/>
                <a:buSzTx/>
                <a:buFontTx/>
                <a:buNone/>
                <a:tabLst/>
                <a:defRPr/>
              </a:pPr>
              <a:r>
                <a:rPr kumimoji="0" lang="en-US" sz="2200" b="1" i="0" u="none" strike="noStrike" kern="1200" cap="none" spc="0" normalizeH="0" baseline="0" noProof="0">
                  <a:ln>
                    <a:noFill/>
                  </a:ln>
                  <a:solidFill>
                    <a:prstClr val="white"/>
                  </a:solidFill>
                  <a:effectLst/>
                  <a:uLnTx/>
                  <a:uFillTx/>
                  <a:latin typeface="Arial"/>
                  <a:ea typeface="+mn-ea"/>
                  <a:cs typeface="+mn-cs"/>
                </a:rPr>
                <a:t>TruScale </a:t>
              </a:r>
            </a:p>
          </p:txBody>
        </p:sp>
        <p:grpSp>
          <p:nvGrpSpPr>
            <p:cNvPr id="9" name="Group 8">
              <a:extLst>
                <a:ext uri="{FF2B5EF4-FFF2-40B4-BE49-F238E27FC236}">
                  <a16:creationId xmlns:a16="http://schemas.microsoft.com/office/drawing/2014/main" id="{E4726658-3DC5-A809-405C-9A8D34061039}"/>
                </a:ext>
              </a:extLst>
            </p:cNvPr>
            <p:cNvGrpSpPr/>
            <p:nvPr/>
          </p:nvGrpSpPr>
          <p:grpSpPr>
            <a:xfrm rot="3618778">
              <a:off x="4939610" y="2905611"/>
              <a:ext cx="2557999" cy="2625443"/>
              <a:chOff x="4108697" y="2025025"/>
              <a:chExt cx="2891233" cy="2967463"/>
            </a:xfrm>
          </p:grpSpPr>
          <p:sp>
            <p:nvSpPr>
              <p:cNvPr id="16" name="Freeform 15">
                <a:extLst>
                  <a:ext uri="{FF2B5EF4-FFF2-40B4-BE49-F238E27FC236}">
                    <a16:creationId xmlns:a16="http://schemas.microsoft.com/office/drawing/2014/main" id="{ECEDC4A7-E302-3727-2D67-AFFC8D0A3F4E}"/>
                  </a:ext>
                </a:extLst>
              </p:cNvPr>
              <p:cNvSpPr/>
              <p:nvPr/>
            </p:nvSpPr>
            <p:spPr>
              <a:xfrm>
                <a:off x="5552936" y="2025025"/>
                <a:ext cx="1446994" cy="2243967"/>
              </a:xfrm>
              <a:custGeom>
                <a:avLst/>
                <a:gdLst>
                  <a:gd name="connsiteX0" fmla="*/ 0 w 1446994"/>
                  <a:gd name="connsiteY0" fmla="*/ 0 h 2243967"/>
                  <a:gd name="connsiteX1" fmla="*/ 129855 w 1446994"/>
                  <a:gd name="connsiteY1" fmla="*/ 6557 h 2243967"/>
                  <a:gd name="connsiteX2" fmla="*/ 1446994 w 1446994"/>
                  <a:gd name="connsiteY2" fmla="*/ 1466128 h 2243967"/>
                  <a:gd name="connsiteX3" fmla="*/ 1269917 w 1446994"/>
                  <a:gd name="connsiteY3" fmla="*/ 2165457 h 2243967"/>
                  <a:gd name="connsiteX4" fmla="*/ 1222221 w 1446994"/>
                  <a:gd name="connsiteY4" fmla="*/ 2243967 h 2243967"/>
                  <a:gd name="connsiteX5" fmla="*/ 932252 w 1446994"/>
                  <a:gd name="connsiteY5" fmla="*/ 2059427 h 2243967"/>
                  <a:gd name="connsiteX6" fmla="*/ 967448 w 1446994"/>
                  <a:gd name="connsiteY6" fmla="*/ 2001492 h 2243967"/>
                  <a:gd name="connsiteX7" fmla="*/ 1103007 w 1446994"/>
                  <a:gd name="connsiteY7" fmla="*/ 1466128 h 2243967"/>
                  <a:gd name="connsiteX8" fmla="*/ 94685 w 1446994"/>
                  <a:gd name="connsiteY8" fmla="*/ 348768 h 2243967"/>
                  <a:gd name="connsiteX9" fmla="*/ 0 w 1446994"/>
                  <a:gd name="connsiteY9" fmla="*/ 343987 h 2243967"/>
                  <a:gd name="connsiteX10" fmla="*/ 0 w 1446994"/>
                  <a:gd name="connsiteY10" fmla="*/ 0 h 224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6994" h="2243967">
                    <a:moveTo>
                      <a:pt x="0" y="0"/>
                    </a:moveTo>
                    <a:lnTo>
                      <a:pt x="129855" y="6557"/>
                    </a:lnTo>
                    <a:cubicBezTo>
                      <a:pt x="869672" y="81689"/>
                      <a:pt x="1446994" y="706489"/>
                      <a:pt x="1446994" y="1466128"/>
                    </a:cubicBezTo>
                    <a:cubicBezTo>
                      <a:pt x="1446994" y="1719341"/>
                      <a:pt x="1382847" y="1957572"/>
                      <a:pt x="1269917" y="2165457"/>
                    </a:cubicBezTo>
                    <a:lnTo>
                      <a:pt x="1222221" y="2243967"/>
                    </a:lnTo>
                    <a:lnTo>
                      <a:pt x="932252" y="2059427"/>
                    </a:lnTo>
                    <a:lnTo>
                      <a:pt x="967448" y="2001492"/>
                    </a:lnTo>
                    <a:cubicBezTo>
                      <a:pt x="1053900" y="1842349"/>
                      <a:pt x="1103007" y="1659973"/>
                      <a:pt x="1103007" y="1466128"/>
                    </a:cubicBezTo>
                    <a:cubicBezTo>
                      <a:pt x="1103007" y="884593"/>
                      <a:pt x="661045" y="406285"/>
                      <a:pt x="94685" y="348768"/>
                    </a:cubicBezTo>
                    <a:lnTo>
                      <a:pt x="0" y="343987"/>
                    </a:lnTo>
                    <a:lnTo>
                      <a:pt x="0" y="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t">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Freeform 16">
                <a:extLst>
                  <a:ext uri="{FF2B5EF4-FFF2-40B4-BE49-F238E27FC236}">
                    <a16:creationId xmlns:a16="http://schemas.microsoft.com/office/drawing/2014/main" id="{598E094B-411D-FA00-13C1-EA12722B1BD9}"/>
                  </a:ext>
                </a:extLst>
              </p:cNvPr>
              <p:cNvSpPr/>
              <p:nvPr/>
            </p:nvSpPr>
            <p:spPr>
              <a:xfrm flipH="1">
                <a:off x="4108697" y="2025025"/>
                <a:ext cx="1446994" cy="2243967"/>
              </a:xfrm>
              <a:custGeom>
                <a:avLst/>
                <a:gdLst>
                  <a:gd name="connsiteX0" fmla="*/ 0 w 1446994"/>
                  <a:gd name="connsiteY0" fmla="*/ 0 h 2243967"/>
                  <a:gd name="connsiteX1" fmla="*/ 129855 w 1446994"/>
                  <a:gd name="connsiteY1" fmla="*/ 6557 h 2243967"/>
                  <a:gd name="connsiteX2" fmla="*/ 1446994 w 1446994"/>
                  <a:gd name="connsiteY2" fmla="*/ 1466128 h 2243967"/>
                  <a:gd name="connsiteX3" fmla="*/ 1269917 w 1446994"/>
                  <a:gd name="connsiteY3" fmla="*/ 2165457 h 2243967"/>
                  <a:gd name="connsiteX4" fmla="*/ 1222221 w 1446994"/>
                  <a:gd name="connsiteY4" fmla="*/ 2243967 h 2243967"/>
                  <a:gd name="connsiteX5" fmla="*/ 932252 w 1446994"/>
                  <a:gd name="connsiteY5" fmla="*/ 2059427 h 2243967"/>
                  <a:gd name="connsiteX6" fmla="*/ 967448 w 1446994"/>
                  <a:gd name="connsiteY6" fmla="*/ 2001492 h 2243967"/>
                  <a:gd name="connsiteX7" fmla="*/ 1103007 w 1446994"/>
                  <a:gd name="connsiteY7" fmla="*/ 1466128 h 2243967"/>
                  <a:gd name="connsiteX8" fmla="*/ 94685 w 1446994"/>
                  <a:gd name="connsiteY8" fmla="*/ 348768 h 2243967"/>
                  <a:gd name="connsiteX9" fmla="*/ 0 w 1446994"/>
                  <a:gd name="connsiteY9" fmla="*/ 343987 h 2243967"/>
                  <a:gd name="connsiteX10" fmla="*/ 0 w 1446994"/>
                  <a:gd name="connsiteY10" fmla="*/ 0 h 224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6994" h="2243967">
                    <a:moveTo>
                      <a:pt x="0" y="0"/>
                    </a:moveTo>
                    <a:lnTo>
                      <a:pt x="129855" y="6557"/>
                    </a:lnTo>
                    <a:cubicBezTo>
                      <a:pt x="869672" y="81689"/>
                      <a:pt x="1446994" y="706489"/>
                      <a:pt x="1446994" y="1466128"/>
                    </a:cubicBezTo>
                    <a:cubicBezTo>
                      <a:pt x="1446994" y="1719341"/>
                      <a:pt x="1382847" y="1957572"/>
                      <a:pt x="1269917" y="2165457"/>
                    </a:cubicBezTo>
                    <a:lnTo>
                      <a:pt x="1222221" y="2243967"/>
                    </a:lnTo>
                    <a:lnTo>
                      <a:pt x="932252" y="2059427"/>
                    </a:lnTo>
                    <a:lnTo>
                      <a:pt x="967448" y="2001492"/>
                    </a:lnTo>
                    <a:cubicBezTo>
                      <a:pt x="1053900" y="1842349"/>
                      <a:pt x="1103007" y="1659973"/>
                      <a:pt x="1103007" y="1466128"/>
                    </a:cubicBezTo>
                    <a:cubicBezTo>
                      <a:pt x="1103007" y="884593"/>
                      <a:pt x="661045" y="406285"/>
                      <a:pt x="94685" y="348768"/>
                    </a:cubicBezTo>
                    <a:lnTo>
                      <a:pt x="0" y="343987"/>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t">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Freeform 17">
                <a:extLst>
                  <a:ext uri="{FF2B5EF4-FFF2-40B4-BE49-F238E27FC236}">
                    <a16:creationId xmlns:a16="http://schemas.microsoft.com/office/drawing/2014/main" id="{D4ADDA95-812A-C2C3-8A4B-7B1E8552FDB7}"/>
                  </a:ext>
                </a:extLst>
              </p:cNvPr>
              <p:cNvSpPr/>
              <p:nvPr/>
            </p:nvSpPr>
            <p:spPr>
              <a:xfrm rot="14400000" flipH="1">
                <a:off x="4907122" y="3147007"/>
                <a:ext cx="1446994" cy="2243967"/>
              </a:xfrm>
              <a:custGeom>
                <a:avLst/>
                <a:gdLst>
                  <a:gd name="connsiteX0" fmla="*/ 0 w 1446994"/>
                  <a:gd name="connsiteY0" fmla="*/ 0 h 2243967"/>
                  <a:gd name="connsiteX1" fmla="*/ 129855 w 1446994"/>
                  <a:gd name="connsiteY1" fmla="*/ 6557 h 2243967"/>
                  <a:gd name="connsiteX2" fmla="*/ 1446994 w 1446994"/>
                  <a:gd name="connsiteY2" fmla="*/ 1466128 h 2243967"/>
                  <a:gd name="connsiteX3" fmla="*/ 1269917 w 1446994"/>
                  <a:gd name="connsiteY3" fmla="*/ 2165457 h 2243967"/>
                  <a:gd name="connsiteX4" fmla="*/ 1222221 w 1446994"/>
                  <a:gd name="connsiteY4" fmla="*/ 2243967 h 2243967"/>
                  <a:gd name="connsiteX5" fmla="*/ 932252 w 1446994"/>
                  <a:gd name="connsiteY5" fmla="*/ 2059427 h 2243967"/>
                  <a:gd name="connsiteX6" fmla="*/ 967448 w 1446994"/>
                  <a:gd name="connsiteY6" fmla="*/ 2001492 h 2243967"/>
                  <a:gd name="connsiteX7" fmla="*/ 1103007 w 1446994"/>
                  <a:gd name="connsiteY7" fmla="*/ 1466128 h 2243967"/>
                  <a:gd name="connsiteX8" fmla="*/ 94685 w 1446994"/>
                  <a:gd name="connsiteY8" fmla="*/ 348768 h 2243967"/>
                  <a:gd name="connsiteX9" fmla="*/ 0 w 1446994"/>
                  <a:gd name="connsiteY9" fmla="*/ 343987 h 2243967"/>
                  <a:gd name="connsiteX10" fmla="*/ 0 w 1446994"/>
                  <a:gd name="connsiteY10" fmla="*/ 0 h 224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6994" h="2243967">
                    <a:moveTo>
                      <a:pt x="0" y="0"/>
                    </a:moveTo>
                    <a:lnTo>
                      <a:pt x="129855" y="6557"/>
                    </a:lnTo>
                    <a:cubicBezTo>
                      <a:pt x="869672" y="81689"/>
                      <a:pt x="1446994" y="706489"/>
                      <a:pt x="1446994" y="1466128"/>
                    </a:cubicBezTo>
                    <a:cubicBezTo>
                      <a:pt x="1446994" y="1719341"/>
                      <a:pt x="1382847" y="1957572"/>
                      <a:pt x="1269917" y="2165457"/>
                    </a:cubicBezTo>
                    <a:lnTo>
                      <a:pt x="1222221" y="2243967"/>
                    </a:lnTo>
                    <a:lnTo>
                      <a:pt x="932252" y="2059427"/>
                    </a:lnTo>
                    <a:lnTo>
                      <a:pt x="967448" y="2001492"/>
                    </a:lnTo>
                    <a:cubicBezTo>
                      <a:pt x="1053900" y="1842349"/>
                      <a:pt x="1103007" y="1659973"/>
                      <a:pt x="1103007" y="1466128"/>
                    </a:cubicBezTo>
                    <a:cubicBezTo>
                      <a:pt x="1103007" y="884593"/>
                      <a:pt x="661045" y="406285"/>
                      <a:pt x="94685" y="348768"/>
                    </a:cubicBezTo>
                    <a:lnTo>
                      <a:pt x="0" y="343987"/>
                    </a:lnTo>
                    <a:lnTo>
                      <a:pt x="0" y="0"/>
                    </a:lnTo>
                    <a:close/>
                  </a:path>
                </a:pathLst>
              </a:custGeom>
              <a:solidFill>
                <a:srgbClr val="EAEE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t">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grpSp>
        <p:sp>
          <p:nvSpPr>
            <p:cNvPr id="10" name="Oval 9">
              <a:extLst>
                <a:ext uri="{FF2B5EF4-FFF2-40B4-BE49-F238E27FC236}">
                  <a16:creationId xmlns:a16="http://schemas.microsoft.com/office/drawing/2014/main" id="{31426B7A-EF3A-2615-652E-B1B1895D42A0}"/>
                </a:ext>
              </a:extLst>
            </p:cNvPr>
            <p:cNvSpPr/>
            <p:nvPr/>
          </p:nvSpPr>
          <p:spPr>
            <a:xfrm>
              <a:off x="7596015" y="4403853"/>
              <a:ext cx="1877780" cy="187594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Flexible financing</a:t>
              </a:r>
            </a:p>
          </p:txBody>
        </p:sp>
        <p:cxnSp>
          <p:nvCxnSpPr>
            <p:cNvPr id="11" name="Straight Connector 10">
              <a:extLst>
                <a:ext uri="{FF2B5EF4-FFF2-40B4-BE49-F238E27FC236}">
                  <a16:creationId xmlns:a16="http://schemas.microsoft.com/office/drawing/2014/main" id="{A20063B5-9CBB-7BBD-5908-49E51D1BB1E1}"/>
                </a:ext>
              </a:extLst>
            </p:cNvPr>
            <p:cNvCxnSpPr>
              <a:cxnSpLocks/>
            </p:cNvCxnSpPr>
            <p:nvPr/>
          </p:nvCxnSpPr>
          <p:spPr>
            <a:xfrm>
              <a:off x="6234753" y="2623835"/>
              <a:ext cx="0" cy="352038"/>
            </a:xfrm>
            <a:prstGeom prst="line">
              <a:avLst/>
            </a:prstGeom>
            <a:ln w="63500">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FDF06D1-5B23-38FD-F3F1-EE895255450E}"/>
                </a:ext>
              </a:extLst>
            </p:cNvPr>
            <p:cNvCxnSpPr>
              <a:cxnSpLocks/>
            </p:cNvCxnSpPr>
            <p:nvPr/>
          </p:nvCxnSpPr>
          <p:spPr>
            <a:xfrm>
              <a:off x="7325331" y="4731121"/>
              <a:ext cx="550471" cy="302726"/>
            </a:xfrm>
            <a:prstGeom prst="line">
              <a:avLst/>
            </a:prstGeom>
            <a:ln w="6350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405C182-D098-6BE7-AD96-643FC9B45D5D}"/>
                </a:ext>
              </a:extLst>
            </p:cNvPr>
            <p:cNvCxnSpPr>
              <a:cxnSpLocks/>
            </p:cNvCxnSpPr>
            <p:nvPr/>
          </p:nvCxnSpPr>
          <p:spPr>
            <a:xfrm flipH="1">
              <a:off x="4558428" y="4733582"/>
              <a:ext cx="620984" cy="322943"/>
            </a:xfrm>
            <a:prstGeom prst="line">
              <a:avLst/>
            </a:prstGeom>
            <a:ln w="63500">
              <a:solidFill>
                <a:srgbClr val="EAEEF5"/>
              </a:solidFill>
              <a:miter lim="800000"/>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45857BDE-CB01-CA52-50F0-69B99CA5FDA1}"/>
                </a:ext>
              </a:extLst>
            </p:cNvPr>
            <p:cNvSpPr/>
            <p:nvPr/>
          </p:nvSpPr>
          <p:spPr>
            <a:xfrm>
              <a:off x="2965021" y="4403853"/>
              <a:ext cx="1877780" cy="1875948"/>
            </a:xfrm>
            <a:prstGeom prst="ellipse">
              <a:avLst/>
            </a:prstGeom>
            <a:solidFill>
              <a:srgbClr val="EAEEF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calable IT &amp; infrastructure</a:t>
              </a:r>
            </a:p>
          </p:txBody>
        </p:sp>
        <p:sp>
          <p:nvSpPr>
            <p:cNvPr id="15" name="Oval 14">
              <a:extLst>
                <a:ext uri="{FF2B5EF4-FFF2-40B4-BE49-F238E27FC236}">
                  <a16:creationId xmlns:a16="http://schemas.microsoft.com/office/drawing/2014/main" id="{B42E8F62-AC20-8D9F-BC98-BEFEEAC33CE9}"/>
                </a:ext>
              </a:extLst>
            </p:cNvPr>
            <p:cNvSpPr/>
            <p:nvPr/>
          </p:nvSpPr>
          <p:spPr>
            <a:xfrm>
              <a:off x="5297361" y="756771"/>
              <a:ext cx="1877780" cy="18759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Modular services</a:t>
              </a:r>
            </a:p>
          </p:txBody>
        </p:sp>
      </p:grpSp>
      <p:sp>
        <p:nvSpPr>
          <p:cNvPr id="19" name="Text Placeholder 4">
            <a:extLst>
              <a:ext uri="{FF2B5EF4-FFF2-40B4-BE49-F238E27FC236}">
                <a16:creationId xmlns:a16="http://schemas.microsoft.com/office/drawing/2014/main" id="{1AD393B6-0D69-BB1F-BD69-6AC66F953B7F}"/>
              </a:ext>
            </a:extLst>
          </p:cNvPr>
          <p:cNvSpPr txBox="1">
            <a:spLocks/>
          </p:cNvSpPr>
          <p:nvPr/>
        </p:nvSpPr>
        <p:spPr>
          <a:xfrm>
            <a:off x="762003" y="2527416"/>
            <a:ext cx="3424831" cy="2495689"/>
          </a:xfrm>
          <a:prstGeom prst="rect">
            <a:avLst/>
          </a:prstGeom>
        </p:spPr>
        <p:txBody>
          <a:bodyPr lIns="0" tIns="0" rIns="0" bIns="0" anchor="t"/>
          <a:lstStyle>
            <a:lvl1pPr marL="0" indent="0" algn="l" defTabSz="1218987" rtl="0" eaLnBrk="1" latinLnBrk="0" hangingPunct="1">
              <a:lnSpc>
                <a:spcPts val="2400"/>
              </a:lnSpc>
              <a:spcBef>
                <a:spcPts val="0"/>
              </a:spcBef>
              <a:buClrTx/>
              <a:buFont typeface="Arial" panose="020B0604020202020204" pitchFamily="34" charset="0"/>
              <a:buNone/>
              <a:defRPr sz="2400" kern="1200" baseline="0">
                <a:solidFill>
                  <a:schemeClr val="tx1"/>
                </a:solidFill>
                <a:latin typeface="Arial" pitchFamily="34" charset="0"/>
                <a:ea typeface="+mn-ea"/>
                <a:cs typeface="Arial" pitchFamily="34" charset="0"/>
              </a:defRPr>
            </a:lvl1pPr>
            <a:lvl2pPr marL="609494" indent="0" algn="l" defTabSz="1218987" rtl="0" eaLnBrk="1" latinLnBrk="0" hangingPunct="1">
              <a:spcBef>
                <a:spcPct val="20000"/>
              </a:spcBef>
              <a:buClrTx/>
              <a:buFont typeface="Arial" panose="020B0604020202020204" pitchFamily="34" charset="0"/>
              <a:buNone/>
              <a:defRPr sz="3700" kern="1200">
                <a:solidFill>
                  <a:schemeClr val="tx1"/>
                </a:solidFill>
                <a:latin typeface="Arial" pitchFamily="34" charset="0"/>
                <a:ea typeface="+mn-ea"/>
                <a:cs typeface="Arial" pitchFamily="34" charset="0"/>
              </a:defRPr>
            </a:lvl2pPr>
            <a:lvl3pPr marL="1218986" indent="0" algn="l" defTabSz="1218987" rtl="0" eaLnBrk="1" latinLnBrk="0" hangingPunct="1">
              <a:spcBef>
                <a:spcPct val="20000"/>
              </a:spcBef>
              <a:buClrTx/>
              <a:buFont typeface="Arial" panose="020B0604020202020204" pitchFamily="34" charset="0"/>
              <a:buNone/>
              <a:defRPr sz="3200" kern="1200">
                <a:solidFill>
                  <a:schemeClr val="tx1"/>
                </a:solidFill>
                <a:latin typeface="Arial" pitchFamily="34" charset="0"/>
                <a:ea typeface="+mn-ea"/>
                <a:cs typeface="Arial" pitchFamily="34" charset="0"/>
              </a:defRPr>
            </a:lvl3pPr>
            <a:lvl4pPr marL="1828480" indent="0" algn="l" defTabSz="1218987" rtl="0" eaLnBrk="1" latinLnBrk="0" hangingPunct="1">
              <a:spcBef>
                <a:spcPct val="20000"/>
              </a:spcBef>
              <a:buClrTx/>
              <a:buFont typeface="Arial" panose="020B0604020202020204" pitchFamily="34" charset="0"/>
              <a:buNone/>
              <a:defRPr sz="2700" kern="1200">
                <a:solidFill>
                  <a:schemeClr val="tx1"/>
                </a:solidFill>
                <a:latin typeface="Arial" pitchFamily="34" charset="0"/>
                <a:ea typeface="+mn-ea"/>
                <a:cs typeface="Arial" pitchFamily="34" charset="0"/>
              </a:defRPr>
            </a:lvl4pPr>
            <a:lvl5pPr marL="2437973" indent="0" algn="l" defTabSz="1218987" rtl="0" eaLnBrk="1" latinLnBrk="0" hangingPunct="1">
              <a:spcBef>
                <a:spcPct val="20000"/>
              </a:spcBef>
              <a:buClrTx/>
              <a:buFont typeface="Arial" panose="020B0604020202020204" pitchFamily="34" charset="0"/>
              <a:buNone/>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a:rPr>
              <a:t>Our solution provides your customers and partners greater choices to select the right technology, modular services, and flexible financing. All with on-premises security for control and peace of mind.</a:t>
            </a:r>
            <a:endParaRPr kumimoji="0" lang="en-US" sz="24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a:p>
            <a:pPr marL="0" marR="0" lvl="0" indent="0" algn="l" defTabSz="1218987"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a:rPr>
              <a:t>Customers achieve flexibility, scale, and control with the support that meets their unique needs.</a:t>
            </a:r>
            <a:endParaRPr kumimoji="0" lang="en-US" sz="14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a:p>
            <a:pPr marL="0" marR="0" lvl="0" indent="0" algn="l" defTabSz="1218987"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4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64022646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14BE54-69B4-0217-BB86-5F3E55C69414}"/>
              </a:ext>
            </a:extLst>
          </p:cNvPr>
          <p:cNvSpPr>
            <a:spLocks noGrp="1"/>
          </p:cNvSpPr>
          <p:nvPr>
            <p:ph type="title"/>
          </p:nvPr>
        </p:nvSpPr>
        <p:spPr>
          <a:xfrm>
            <a:off x="759221" y="586959"/>
            <a:ext cx="10670780" cy="418576"/>
          </a:xfrm>
        </p:spPr>
        <p:txBody>
          <a:bodyPr/>
          <a:lstStyle/>
          <a:p>
            <a:r>
              <a:rPr lang="en-US"/>
              <a:t>What is Capex to </a:t>
            </a:r>
            <a:r>
              <a:rPr lang="en-US" err="1"/>
              <a:t>Opex</a:t>
            </a:r>
            <a:r>
              <a:rPr lang="en-US"/>
              <a:t> Indirect?</a:t>
            </a:r>
          </a:p>
        </p:txBody>
      </p:sp>
      <p:sp>
        <p:nvSpPr>
          <p:cNvPr id="16" name="Rectangle 15">
            <a:extLst>
              <a:ext uri="{FF2B5EF4-FFF2-40B4-BE49-F238E27FC236}">
                <a16:creationId xmlns:a16="http://schemas.microsoft.com/office/drawing/2014/main" id="{C0A622C0-FA6F-0D1B-7BB3-4AF5E068D227}"/>
              </a:ext>
              <a:ext uri="{C183D7F6-B498-43B3-948B-1728B52AA6E4}">
                <adec:decorative xmlns:adec="http://schemas.microsoft.com/office/drawing/2017/decorative" val="0"/>
              </a:ext>
            </a:extLst>
          </p:cNvPr>
          <p:cNvSpPr/>
          <p:nvPr/>
        </p:nvSpPr>
        <p:spPr>
          <a:xfrm>
            <a:off x="758953" y="1382267"/>
            <a:ext cx="10671048" cy="168226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11680" tIns="182880" rIns="182880" bIns="182880" rtlCol="0" anchor="ctr" anchorCtr="0"/>
          <a:lstStyle/>
          <a:p>
            <a:pPr defTabSz="1218987"/>
            <a:r>
              <a:rPr lang="en-US" sz="1600"/>
              <a:t>The Capex to </a:t>
            </a:r>
            <a:r>
              <a:rPr lang="en-US" sz="1600" err="1"/>
              <a:t>Opex</a:t>
            </a:r>
            <a:r>
              <a:rPr lang="en-US" sz="1600"/>
              <a:t> Indirect solution provides a more scalable, automated, and partner‑friendly financing solution, enabling channel partners to directly initiate financing quotes, view indicative pricing, and trigger automated Lenovo Global Financial Services engagement. </a:t>
            </a:r>
          </a:p>
          <a:p>
            <a:pPr defTabSz="1218987"/>
            <a:endParaRPr lang="en-US" sz="1200">
              <a:solidFill>
                <a:prstClr val="white"/>
              </a:solidFill>
              <a:latin typeface="Arial" pitchFamily="34" charset="0"/>
              <a:cs typeface="Arial" pitchFamily="34" charset="0"/>
            </a:endParaRPr>
          </a:p>
        </p:txBody>
      </p:sp>
      <p:sp>
        <p:nvSpPr>
          <p:cNvPr id="17" name="Rectangle 16">
            <a:extLst>
              <a:ext uri="{FF2B5EF4-FFF2-40B4-BE49-F238E27FC236}">
                <a16:creationId xmlns:a16="http://schemas.microsoft.com/office/drawing/2014/main" id="{D09F5637-8F92-61FC-2466-06032A6C6F77}"/>
              </a:ext>
              <a:ext uri="{C183D7F6-B498-43B3-948B-1728B52AA6E4}">
                <adec:decorative xmlns:adec="http://schemas.microsoft.com/office/drawing/2017/decorative" val="0"/>
              </a:ext>
            </a:extLst>
          </p:cNvPr>
          <p:cNvSpPr/>
          <p:nvPr/>
        </p:nvSpPr>
        <p:spPr>
          <a:xfrm>
            <a:off x="758953" y="3128125"/>
            <a:ext cx="10671048" cy="2933628"/>
          </a:xfrm>
          <a:prstGeom prst="rect">
            <a:avLst/>
          </a:prstGeom>
          <a:solidFill>
            <a:srgbClr val="4D144A"/>
          </a:solidFill>
          <a:ln>
            <a:noFill/>
          </a:ln>
        </p:spPr>
        <p:style>
          <a:lnRef idx="2">
            <a:schemeClr val="accent1">
              <a:shade val="50000"/>
            </a:schemeClr>
          </a:lnRef>
          <a:fillRef idx="1">
            <a:schemeClr val="accent1"/>
          </a:fillRef>
          <a:effectRef idx="0">
            <a:schemeClr val="accent1"/>
          </a:effectRef>
          <a:fontRef idx="minor">
            <a:schemeClr val="lt1"/>
          </a:fontRef>
        </p:style>
        <p:txBody>
          <a:bodyPr lIns="2011680" tIns="182880" rIns="182880" bIns="182880" rtlCol="0" anchor="ctr" anchorCtr="0"/>
          <a:lstStyle/>
          <a:p>
            <a:pPr>
              <a:spcAft>
                <a:spcPts val="600"/>
              </a:spcAft>
            </a:pPr>
            <a:r>
              <a:rPr lang="en-US" sz="1600"/>
              <a:t>Why it Matters:</a:t>
            </a:r>
          </a:p>
          <a:p>
            <a:pPr marL="342900" indent="-342900">
              <a:spcAft>
                <a:spcPts val="600"/>
              </a:spcAft>
              <a:buFont typeface="Arial" panose="020B0604020202020204" pitchFamily="34" charset="0"/>
              <a:buChar char="•"/>
            </a:pPr>
            <a:r>
              <a:rPr lang="en-US" sz="1600" b="1"/>
              <a:t>Partners can initiate financing quotes</a:t>
            </a:r>
            <a:r>
              <a:rPr lang="en-US" sz="1600"/>
              <a:t> directly in LBP‑e, removing reliance on Lenovo and accelerating quote creation</a:t>
            </a:r>
          </a:p>
          <a:p>
            <a:pPr marL="342900" indent="-342900">
              <a:spcAft>
                <a:spcPts val="600"/>
              </a:spcAft>
              <a:buFont typeface="Arial" panose="020B0604020202020204" pitchFamily="34" charset="0"/>
              <a:buChar char="•"/>
            </a:pPr>
            <a:r>
              <a:rPr lang="en-US" sz="1600"/>
              <a:t>Dynamic indicative financing pricing gives partners </a:t>
            </a:r>
            <a:r>
              <a:rPr lang="en-US" sz="1600" b="1"/>
              <a:t>real‑time visibility</a:t>
            </a:r>
            <a:r>
              <a:rPr lang="en-US" sz="1600"/>
              <a:t>, improving customer conversations and reducing manual interventions / conversations</a:t>
            </a:r>
          </a:p>
          <a:p>
            <a:pPr marL="342900" indent="-342900">
              <a:spcAft>
                <a:spcPts val="600"/>
              </a:spcAft>
              <a:buFont typeface="Arial" panose="020B0604020202020204" pitchFamily="34" charset="0"/>
              <a:buChar char="•"/>
            </a:pPr>
            <a:r>
              <a:rPr lang="en-US" sz="1600"/>
              <a:t>Triggers </a:t>
            </a:r>
            <a:r>
              <a:rPr lang="en-US" sz="1600" b="1" err="1"/>
              <a:t>Opex</a:t>
            </a:r>
            <a:r>
              <a:rPr lang="en-US" sz="1600" b="1"/>
              <a:t> pricing in every quote </a:t>
            </a:r>
            <a:r>
              <a:rPr lang="en-US" sz="1600"/>
              <a:t>which creates additional visibility for the opportunity to position this to customers. Auto-routes Partner Rep to the right contact in LGFS/LFS for credit check and final contract pricing</a:t>
            </a:r>
          </a:p>
        </p:txBody>
      </p:sp>
      <p:pic>
        <p:nvPicPr>
          <p:cNvPr id="19" name="Graphic 18">
            <a:extLst>
              <a:ext uri="{FF2B5EF4-FFF2-40B4-BE49-F238E27FC236}">
                <a16:creationId xmlns:a16="http://schemas.microsoft.com/office/drawing/2014/main" id="{040534F7-727F-AE8A-6FA8-314DA9E530C5}"/>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1195148" y="3442160"/>
            <a:ext cx="1054190" cy="1054190"/>
          </a:xfrm>
          <a:prstGeom prst="rect">
            <a:avLst/>
          </a:prstGeom>
        </p:spPr>
      </p:pic>
      <p:pic>
        <p:nvPicPr>
          <p:cNvPr id="21" name="Graphic 20">
            <a:extLst>
              <a:ext uri="{FF2B5EF4-FFF2-40B4-BE49-F238E27FC236}">
                <a16:creationId xmlns:a16="http://schemas.microsoft.com/office/drawing/2014/main" id="{E9273ABB-B9D6-0830-8A97-36028FBD0756}"/>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1195148" y="1696305"/>
            <a:ext cx="1054184" cy="1054184"/>
          </a:xfrm>
          <a:prstGeom prst="rect">
            <a:avLst/>
          </a:prstGeom>
        </p:spPr>
      </p:pic>
      <p:sp>
        <p:nvSpPr>
          <p:cNvPr id="3" name="Slide Number Placeholder 2">
            <a:extLst>
              <a:ext uri="{FF2B5EF4-FFF2-40B4-BE49-F238E27FC236}">
                <a16:creationId xmlns:a16="http://schemas.microsoft.com/office/drawing/2014/main" id="{92DC99FD-D1D5-5078-B1F9-57CFA59EDFFC}"/>
              </a:ext>
            </a:extLst>
          </p:cNvPr>
          <p:cNvSpPr>
            <a:spLocks noGrp="1"/>
          </p:cNvSpPr>
          <p:nvPr>
            <p:ph type="sldNum" sz="quarter" idx="11"/>
          </p:nvPr>
        </p:nvSpPr>
        <p:spPr/>
        <p:txBody>
          <a:bodyPr/>
          <a:lstStyle/>
          <a:p>
            <a:pPr defTabSz="1218987"/>
            <a:fld id="{6D22F896-40B5-4ADD-8801-0D06FADFA095}" type="slidenum">
              <a:rPr lang="en-US">
                <a:solidFill>
                  <a:srgbClr val="000000"/>
                </a:solidFill>
              </a:rPr>
              <a:pPr defTabSz="1218987"/>
              <a:t>3</a:t>
            </a:fld>
            <a:endParaRPr lang="en-US">
              <a:solidFill>
                <a:srgbClr val="000000"/>
              </a:solidFill>
            </a:endParaRPr>
          </a:p>
        </p:txBody>
      </p:sp>
    </p:spTree>
    <p:extLst>
      <p:ext uri="{BB962C8B-B14F-4D97-AF65-F5344CB8AC3E}">
        <p14:creationId xmlns:p14="http://schemas.microsoft.com/office/powerpoint/2010/main" val="277773054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MPRV149-DaaS and TruScale Infrastructure for Indirect Capex to Opex Quotes">
            <a:hlinkClick r:id="" action="ppaction://media"/>
            <a:extLst>
              <a:ext uri="{FF2B5EF4-FFF2-40B4-BE49-F238E27FC236}">
                <a16:creationId xmlns:a16="http://schemas.microsoft.com/office/drawing/2014/main" id="{60AFA9C2-5985-227D-6355-5B13F8D157C9}"/>
              </a:ext>
            </a:extLst>
          </p:cNvPr>
          <p:cNvPicPr>
            <a:picLocks noGrp="1" noChangeAspect="1"/>
          </p:cNvPicPr>
          <p:nvPr>
            <p:ph sz="half" idx="1"/>
            <a:videoFile r:link="rId2"/>
            <p:extLst>
              <p:ext uri="{DAA4B4D4-6D71-4841-9C94-3DE7FCFB9230}">
                <p14:media xmlns:p14="http://schemas.microsoft.com/office/powerpoint/2010/main" r:embed="rId1"/>
              </p:ext>
            </p:extLst>
          </p:nvPr>
        </p:nvPicPr>
        <p:blipFill>
          <a:blip r:embed="rId4"/>
          <a:stretch>
            <a:fillRect/>
          </a:stretch>
        </p:blipFill>
        <p:spPr>
          <a:xfrm>
            <a:off x="3176" y="1787"/>
            <a:ext cx="12185651" cy="6853802"/>
          </a:xfrm>
        </p:spPr>
      </p:pic>
      <p:sp>
        <p:nvSpPr>
          <p:cNvPr id="5" name="Slide Number Placeholder 4">
            <a:extLst>
              <a:ext uri="{FF2B5EF4-FFF2-40B4-BE49-F238E27FC236}">
                <a16:creationId xmlns:a16="http://schemas.microsoft.com/office/drawing/2014/main" id="{B856FFB3-4EE2-91F1-1B70-E6D261BC5D5A}"/>
              </a:ext>
            </a:extLst>
          </p:cNvPr>
          <p:cNvSpPr>
            <a:spLocks noGrp="1"/>
          </p:cNvSpPr>
          <p:nvPr>
            <p:ph type="sldNum" sz="quarter" idx="11"/>
          </p:nvPr>
        </p:nvSpPr>
        <p:spPr/>
        <p:txBody>
          <a:bodyPr/>
          <a:lstStyle/>
          <a:p>
            <a:pPr defTabSz="913852">
              <a:defRPr/>
            </a:pPr>
            <a:fld id="{6D22F896-40B5-4ADD-8801-0D06FADFA095}" type="slidenum">
              <a:rPr lang="en-US">
                <a:solidFill>
                  <a:srgbClr val="000000"/>
                </a:solidFill>
                <a:latin typeface="Aptos" panose="02110004020202020204"/>
              </a:rPr>
              <a:pPr defTabSz="913852">
                <a:defRPr/>
              </a:pPr>
              <a:t>4</a:t>
            </a:fld>
            <a:endParaRPr lang="en-US">
              <a:solidFill>
                <a:srgbClr val="000000"/>
              </a:solidFill>
              <a:latin typeface="Aptos" panose="02110004020202020204"/>
            </a:endParaRPr>
          </a:p>
        </p:txBody>
      </p:sp>
    </p:spTree>
    <p:extLst>
      <p:ext uri="{BB962C8B-B14F-4D97-AF65-F5344CB8AC3E}">
        <p14:creationId xmlns:p14="http://schemas.microsoft.com/office/powerpoint/2010/main" val="336094323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583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51598-856C-B211-5943-8608E03AC16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CABE3AB-A533-212F-778A-1DC60AA928F6}"/>
              </a:ext>
            </a:extLst>
          </p:cNvPr>
          <p:cNvSpPr>
            <a:spLocks noGrp="1"/>
          </p:cNvSpPr>
          <p:nvPr>
            <p:ph type="title"/>
          </p:nvPr>
        </p:nvSpPr>
        <p:spPr/>
        <p:txBody>
          <a:bodyPr/>
          <a:lstStyle/>
          <a:p>
            <a:r>
              <a:rPr lang="en-US"/>
              <a:t>What to Know</a:t>
            </a:r>
          </a:p>
        </p:txBody>
      </p:sp>
      <p:sp>
        <p:nvSpPr>
          <p:cNvPr id="24" name="Rectangle 23">
            <a:extLst>
              <a:ext uri="{FF2B5EF4-FFF2-40B4-BE49-F238E27FC236}">
                <a16:creationId xmlns:a16="http://schemas.microsoft.com/office/drawing/2014/main" id="{8389EBD2-C473-8410-6D6A-E7343481D4D7}"/>
              </a:ext>
              <a:ext uri="{C183D7F6-B498-43B3-948B-1728B52AA6E4}">
                <adec:decorative xmlns:adec="http://schemas.microsoft.com/office/drawing/2017/decorative" val="1"/>
              </a:ext>
            </a:extLst>
          </p:cNvPr>
          <p:cNvSpPr/>
          <p:nvPr/>
        </p:nvSpPr>
        <p:spPr>
          <a:xfrm>
            <a:off x="3175" y="1187090"/>
            <a:ext cx="12188825" cy="4737928"/>
          </a:xfrm>
          <a:prstGeom prst="rect">
            <a:avLst/>
          </a:prstGeom>
          <a:gradFill>
            <a:gsLst>
              <a:gs pos="45000">
                <a:srgbClr val="310012"/>
              </a:gs>
              <a:gs pos="0">
                <a:srgbClr val="64131E"/>
              </a:gs>
              <a:gs pos="84000">
                <a:srgbClr val="4C1451"/>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US" sz="1600" err="1">
              <a:solidFill>
                <a:prstClr val="white"/>
              </a:solidFill>
            </a:endParaRPr>
          </a:p>
        </p:txBody>
      </p:sp>
      <p:sp>
        <p:nvSpPr>
          <p:cNvPr id="25" name="文本框 15">
            <a:extLst>
              <a:ext uri="{FF2B5EF4-FFF2-40B4-BE49-F238E27FC236}">
                <a16:creationId xmlns:a16="http://schemas.microsoft.com/office/drawing/2014/main" id="{1D452C7A-B0E3-ABDB-8A8E-E30BC9AA4A77}"/>
              </a:ext>
            </a:extLst>
          </p:cNvPr>
          <p:cNvSpPr txBox="1"/>
          <p:nvPr/>
        </p:nvSpPr>
        <p:spPr>
          <a:xfrm>
            <a:off x="1625034" y="1694673"/>
            <a:ext cx="3937082" cy="918200"/>
          </a:xfrm>
          <a:prstGeom prst="rect">
            <a:avLst/>
          </a:prstGeom>
          <a:noFill/>
        </p:spPr>
        <p:txBody>
          <a:bodyPr wrap="square" lIns="91440" tIns="45720" rIns="91440" bIns="45720" rtlCol="0" anchor="t">
            <a:spAutoFit/>
          </a:bodyPr>
          <a:lstStyle/>
          <a:p>
            <a:pPr>
              <a:spcBef>
                <a:spcPts val="200"/>
              </a:spcBef>
            </a:pPr>
            <a:r>
              <a:rPr lang="en-US" sz="1600" b="1">
                <a:solidFill>
                  <a:schemeClr val="bg1"/>
                </a:solidFill>
              </a:rPr>
              <a:t>Partner Initiated Quotes</a:t>
            </a:r>
            <a:endParaRPr lang="en-US" sz="1600" b="1">
              <a:solidFill>
                <a:schemeClr val="bg1"/>
              </a:solidFill>
              <a:latin typeface="Arial" pitchFamily="34" charset="0"/>
              <a:cs typeface="Arial" pitchFamily="34" charset="0"/>
            </a:endParaRPr>
          </a:p>
          <a:p>
            <a:pPr>
              <a:spcBef>
                <a:spcPts val="200"/>
              </a:spcBef>
            </a:pPr>
            <a:r>
              <a:rPr lang="en-US" sz="1200">
                <a:solidFill>
                  <a:schemeClr val="bg1"/>
                </a:solidFill>
              </a:rPr>
              <a:t>Channel partners can now start financing quotes directly in LBP‑e, reducing dependency on Lenovo sellers and speeding up indirect deal cycles</a:t>
            </a:r>
            <a:endParaRPr lang="en-US" sz="1200">
              <a:solidFill>
                <a:schemeClr val="bg1"/>
              </a:solidFill>
              <a:latin typeface="Arial" pitchFamily="34" charset="0"/>
              <a:cs typeface="Arial" pitchFamily="34" charset="0"/>
            </a:endParaRPr>
          </a:p>
        </p:txBody>
      </p:sp>
      <p:sp>
        <p:nvSpPr>
          <p:cNvPr id="26" name="文本框 15">
            <a:extLst>
              <a:ext uri="{FF2B5EF4-FFF2-40B4-BE49-F238E27FC236}">
                <a16:creationId xmlns:a16="http://schemas.microsoft.com/office/drawing/2014/main" id="{EA35A6D2-4FAB-D4C7-DFF2-B472C001AC6A}"/>
              </a:ext>
            </a:extLst>
          </p:cNvPr>
          <p:cNvSpPr txBox="1"/>
          <p:nvPr/>
        </p:nvSpPr>
        <p:spPr>
          <a:xfrm>
            <a:off x="1625034" y="3008069"/>
            <a:ext cx="3937082" cy="733534"/>
          </a:xfrm>
          <a:prstGeom prst="rect">
            <a:avLst/>
          </a:prstGeom>
          <a:noFill/>
        </p:spPr>
        <p:txBody>
          <a:bodyPr wrap="square" lIns="91440" tIns="45720" rIns="91440" bIns="45720" rtlCol="0" anchor="t">
            <a:spAutoFit/>
          </a:bodyPr>
          <a:lstStyle/>
          <a:p>
            <a:pPr>
              <a:spcBef>
                <a:spcPts val="200"/>
              </a:spcBef>
            </a:pPr>
            <a:r>
              <a:rPr lang="en-US" sz="1600" b="1">
                <a:solidFill>
                  <a:schemeClr val="bg1"/>
                </a:solidFill>
              </a:rPr>
              <a:t>Dynamic Indicative financing Price</a:t>
            </a:r>
            <a:endParaRPr lang="en-US" sz="1600" b="1">
              <a:solidFill>
                <a:schemeClr val="bg1"/>
              </a:solidFill>
              <a:latin typeface="Arial" pitchFamily="34" charset="0"/>
              <a:cs typeface="Arial" pitchFamily="34" charset="0"/>
            </a:endParaRPr>
          </a:p>
          <a:p>
            <a:pPr>
              <a:spcBef>
                <a:spcPts val="200"/>
              </a:spcBef>
            </a:pPr>
            <a:r>
              <a:rPr lang="en-US" sz="1200">
                <a:solidFill>
                  <a:schemeClr val="bg1"/>
                </a:solidFill>
              </a:rPr>
              <a:t>Partners can view non‑binding financing estimates during quote simulation</a:t>
            </a:r>
            <a:endParaRPr lang="en-US" sz="1200">
              <a:solidFill>
                <a:schemeClr val="bg1"/>
              </a:solidFill>
              <a:latin typeface="Arial" pitchFamily="34" charset="0"/>
              <a:cs typeface="Arial" pitchFamily="34" charset="0"/>
            </a:endParaRPr>
          </a:p>
        </p:txBody>
      </p:sp>
      <p:sp>
        <p:nvSpPr>
          <p:cNvPr id="27" name="文本框 15">
            <a:extLst>
              <a:ext uri="{FF2B5EF4-FFF2-40B4-BE49-F238E27FC236}">
                <a16:creationId xmlns:a16="http://schemas.microsoft.com/office/drawing/2014/main" id="{F7867083-7C6C-AFA6-3BFF-46D07001BA8C}"/>
              </a:ext>
            </a:extLst>
          </p:cNvPr>
          <p:cNvSpPr txBox="1"/>
          <p:nvPr/>
        </p:nvSpPr>
        <p:spPr>
          <a:xfrm>
            <a:off x="1625034" y="4321464"/>
            <a:ext cx="3937082" cy="892552"/>
          </a:xfrm>
          <a:prstGeom prst="rect">
            <a:avLst/>
          </a:prstGeom>
          <a:noFill/>
        </p:spPr>
        <p:txBody>
          <a:bodyPr wrap="square" lIns="91440" tIns="45720" rIns="91440" bIns="45720" rtlCol="0" anchor="t">
            <a:spAutoFit/>
          </a:bodyPr>
          <a:lstStyle/>
          <a:p>
            <a:pPr>
              <a:spcBef>
                <a:spcPts val="200"/>
              </a:spcBef>
            </a:pPr>
            <a:r>
              <a:rPr lang="en-US" sz="1600" b="1">
                <a:solidFill>
                  <a:schemeClr val="bg1"/>
                </a:solidFill>
              </a:rPr>
              <a:t>Automated LGFS Engagement</a:t>
            </a:r>
            <a:endParaRPr lang="en-US" sz="1600" b="1">
              <a:solidFill>
                <a:schemeClr val="bg1"/>
              </a:solidFill>
              <a:latin typeface="Arial" pitchFamily="34" charset="0"/>
              <a:cs typeface="Arial" pitchFamily="34" charset="0"/>
            </a:endParaRPr>
          </a:p>
          <a:p>
            <a:r>
              <a:rPr lang="en-US" sz="1200">
                <a:solidFill>
                  <a:schemeClr val="bg1"/>
                </a:solidFill>
              </a:rPr>
              <a:t>Partner rep can select to move forward with the quote and the opportunity information will automatically be shared with an LGFS representative</a:t>
            </a:r>
          </a:p>
        </p:txBody>
      </p:sp>
      <p:sp>
        <p:nvSpPr>
          <p:cNvPr id="28" name="文本框 15">
            <a:extLst>
              <a:ext uri="{FF2B5EF4-FFF2-40B4-BE49-F238E27FC236}">
                <a16:creationId xmlns:a16="http://schemas.microsoft.com/office/drawing/2014/main" id="{46734E65-4FF8-44C1-4585-6B7F5949E528}"/>
              </a:ext>
            </a:extLst>
          </p:cNvPr>
          <p:cNvSpPr txBox="1"/>
          <p:nvPr/>
        </p:nvSpPr>
        <p:spPr>
          <a:xfrm>
            <a:off x="7116751" y="1694673"/>
            <a:ext cx="3937082" cy="892552"/>
          </a:xfrm>
          <a:prstGeom prst="rect">
            <a:avLst/>
          </a:prstGeom>
          <a:noFill/>
        </p:spPr>
        <p:txBody>
          <a:bodyPr wrap="square" lIns="91440" tIns="45720" rIns="91440" bIns="45720" rtlCol="0" anchor="t">
            <a:spAutoFit/>
          </a:bodyPr>
          <a:lstStyle/>
          <a:p>
            <a:pPr>
              <a:spcBef>
                <a:spcPts val="200"/>
              </a:spcBef>
            </a:pPr>
            <a:r>
              <a:rPr lang="en-US" sz="1600" b="1">
                <a:solidFill>
                  <a:schemeClr val="bg1"/>
                </a:solidFill>
              </a:rPr>
              <a:t>Expanded Funding Options</a:t>
            </a:r>
            <a:endParaRPr lang="en-US" sz="1600" b="1">
              <a:solidFill>
                <a:schemeClr val="bg1"/>
              </a:solidFill>
              <a:latin typeface="Arial" pitchFamily="34" charset="0"/>
              <a:cs typeface="Arial" pitchFamily="34" charset="0"/>
            </a:endParaRPr>
          </a:p>
          <a:p>
            <a:r>
              <a:rPr lang="en-US" sz="1200">
                <a:solidFill>
                  <a:schemeClr val="bg1"/>
                </a:solidFill>
              </a:rPr>
              <a:t>Deals can be funded through an ecosystem of approved funding partners so that the best pricing is secured</a:t>
            </a:r>
          </a:p>
        </p:txBody>
      </p:sp>
      <p:sp>
        <p:nvSpPr>
          <p:cNvPr id="29" name="文本框 15">
            <a:extLst>
              <a:ext uri="{FF2B5EF4-FFF2-40B4-BE49-F238E27FC236}">
                <a16:creationId xmlns:a16="http://schemas.microsoft.com/office/drawing/2014/main" id="{1CF1FF81-BE95-BDA7-EABA-C87DA5C5E50D}"/>
              </a:ext>
            </a:extLst>
          </p:cNvPr>
          <p:cNvSpPr txBox="1"/>
          <p:nvPr/>
        </p:nvSpPr>
        <p:spPr>
          <a:xfrm>
            <a:off x="7116751" y="3008069"/>
            <a:ext cx="3937082" cy="707886"/>
          </a:xfrm>
          <a:prstGeom prst="rect">
            <a:avLst/>
          </a:prstGeom>
          <a:noFill/>
        </p:spPr>
        <p:txBody>
          <a:bodyPr wrap="square" lIns="91440" tIns="45720" rIns="91440" bIns="45720" rtlCol="0" anchor="t">
            <a:spAutoFit/>
          </a:bodyPr>
          <a:lstStyle/>
          <a:p>
            <a:pPr>
              <a:spcBef>
                <a:spcPts val="200"/>
              </a:spcBef>
            </a:pPr>
            <a:r>
              <a:rPr lang="en-US" sz="1600" b="1">
                <a:solidFill>
                  <a:schemeClr val="bg1"/>
                </a:solidFill>
              </a:rPr>
              <a:t>Sales Opportunity Integration </a:t>
            </a:r>
          </a:p>
          <a:p>
            <a:r>
              <a:rPr lang="en-US" sz="1200">
                <a:solidFill>
                  <a:schemeClr val="bg1"/>
                </a:solidFill>
              </a:rPr>
              <a:t>Prompts partner reps to propose an </a:t>
            </a:r>
            <a:r>
              <a:rPr lang="en-US" sz="1200" err="1">
                <a:solidFill>
                  <a:schemeClr val="bg1"/>
                </a:solidFill>
              </a:rPr>
              <a:t>Opex</a:t>
            </a:r>
            <a:r>
              <a:rPr lang="en-US" sz="1200">
                <a:solidFill>
                  <a:schemeClr val="bg1"/>
                </a:solidFill>
              </a:rPr>
              <a:t> pricing solution alongside Capex pricing</a:t>
            </a:r>
            <a:endParaRPr lang="en-US" sz="1200">
              <a:solidFill>
                <a:srgbClr val="FF0000"/>
              </a:solidFill>
            </a:endParaRPr>
          </a:p>
        </p:txBody>
      </p:sp>
      <p:sp>
        <p:nvSpPr>
          <p:cNvPr id="30" name="文本框 15">
            <a:extLst>
              <a:ext uri="{FF2B5EF4-FFF2-40B4-BE49-F238E27FC236}">
                <a16:creationId xmlns:a16="http://schemas.microsoft.com/office/drawing/2014/main" id="{064733BF-29FA-280E-4EF9-5C2437608869}"/>
              </a:ext>
            </a:extLst>
          </p:cNvPr>
          <p:cNvSpPr txBox="1"/>
          <p:nvPr/>
        </p:nvSpPr>
        <p:spPr>
          <a:xfrm>
            <a:off x="7116751" y="4321464"/>
            <a:ext cx="3937082" cy="733534"/>
          </a:xfrm>
          <a:prstGeom prst="rect">
            <a:avLst/>
          </a:prstGeom>
          <a:noFill/>
        </p:spPr>
        <p:txBody>
          <a:bodyPr wrap="square" lIns="91440" tIns="45720" rIns="91440" bIns="45720" rtlCol="0" anchor="t">
            <a:spAutoFit/>
          </a:bodyPr>
          <a:lstStyle/>
          <a:p>
            <a:pPr>
              <a:spcBef>
                <a:spcPts val="200"/>
              </a:spcBef>
            </a:pPr>
            <a:r>
              <a:rPr lang="en-US" sz="1600" b="1">
                <a:solidFill>
                  <a:schemeClr val="bg1"/>
                </a:solidFill>
              </a:rPr>
              <a:t>Solution scope</a:t>
            </a:r>
            <a:endParaRPr lang="en-US" sz="1600" b="1">
              <a:solidFill>
                <a:schemeClr val="bg1"/>
              </a:solidFill>
              <a:latin typeface="Arial" pitchFamily="34" charset="0"/>
              <a:cs typeface="Arial" pitchFamily="34" charset="0"/>
            </a:endParaRPr>
          </a:p>
          <a:p>
            <a:pPr>
              <a:spcBef>
                <a:spcPts val="200"/>
              </a:spcBef>
            </a:pPr>
            <a:r>
              <a:rPr lang="en-US" sz="1200">
                <a:solidFill>
                  <a:schemeClr val="bg1"/>
                </a:solidFill>
              </a:rPr>
              <a:t>Available for DaaS and ISG Leasing, LGFS can include other elements to the pricing at partner request</a:t>
            </a:r>
            <a:endParaRPr lang="en-US" sz="1200">
              <a:solidFill>
                <a:schemeClr val="bg1"/>
              </a:solidFill>
              <a:latin typeface="Arial" pitchFamily="34" charset="0"/>
              <a:cs typeface="Arial" pitchFamily="34" charset="0"/>
            </a:endParaRPr>
          </a:p>
        </p:txBody>
      </p:sp>
      <p:pic>
        <p:nvPicPr>
          <p:cNvPr id="31" name="Graphic 30">
            <a:extLst>
              <a:ext uri="{FF2B5EF4-FFF2-40B4-BE49-F238E27FC236}">
                <a16:creationId xmlns:a16="http://schemas.microsoft.com/office/drawing/2014/main" id="{D7541D87-42FB-3655-B32C-44DB32C7BF83}"/>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2"/>
              </a:ext>
            </a:extLst>
          </a:blip>
          <a:srcRect/>
          <a:stretch/>
        </p:blipFill>
        <p:spPr>
          <a:xfrm>
            <a:off x="619479" y="3008069"/>
            <a:ext cx="833414" cy="833414"/>
          </a:xfrm>
          <a:prstGeom prst="rect">
            <a:avLst/>
          </a:prstGeom>
        </p:spPr>
      </p:pic>
      <p:pic>
        <p:nvPicPr>
          <p:cNvPr id="32" name="Graphic 31">
            <a:extLst>
              <a:ext uri="{FF2B5EF4-FFF2-40B4-BE49-F238E27FC236}">
                <a16:creationId xmlns:a16="http://schemas.microsoft.com/office/drawing/2014/main" id="{51AB9CFA-7A1F-3111-0E38-9B047B0471C0}"/>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19483" y="4321465"/>
            <a:ext cx="833411" cy="833411"/>
          </a:xfrm>
          <a:prstGeom prst="rect">
            <a:avLst/>
          </a:prstGeom>
        </p:spPr>
      </p:pic>
      <p:pic>
        <p:nvPicPr>
          <p:cNvPr id="41" name="Graphic 40">
            <a:extLst>
              <a:ext uri="{FF2B5EF4-FFF2-40B4-BE49-F238E27FC236}">
                <a16:creationId xmlns:a16="http://schemas.microsoft.com/office/drawing/2014/main" id="{B3520103-45D6-87CD-5DBE-43A50ABE387B}"/>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619483" y="1694673"/>
            <a:ext cx="833410" cy="833410"/>
          </a:xfrm>
          <a:prstGeom prst="rect">
            <a:avLst/>
          </a:prstGeom>
        </p:spPr>
      </p:pic>
      <p:pic>
        <p:nvPicPr>
          <p:cNvPr id="45" name="Graphic 44">
            <a:extLst>
              <a:ext uri="{FF2B5EF4-FFF2-40B4-BE49-F238E27FC236}">
                <a16:creationId xmlns:a16="http://schemas.microsoft.com/office/drawing/2014/main" id="{F3C1102A-B36F-571B-509C-CBFB260A462A}"/>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6124011" y="1694674"/>
            <a:ext cx="833411" cy="833411"/>
          </a:xfrm>
          <a:prstGeom prst="rect">
            <a:avLst/>
          </a:prstGeom>
        </p:spPr>
      </p:pic>
      <p:pic>
        <p:nvPicPr>
          <p:cNvPr id="46" name="Graphic 45">
            <a:extLst>
              <a:ext uri="{FF2B5EF4-FFF2-40B4-BE49-F238E27FC236}">
                <a16:creationId xmlns:a16="http://schemas.microsoft.com/office/drawing/2014/main" id="{41B38AAA-4FD6-823E-5389-34D6E9F51996}"/>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6129022" y="3008070"/>
            <a:ext cx="833413" cy="833413"/>
          </a:xfrm>
          <a:prstGeom prst="rect">
            <a:avLst/>
          </a:prstGeom>
        </p:spPr>
      </p:pic>
      <p:pic>
        <p:nvPicPr>
          <p:cNvPr id="47" name="Graphic 46">
            <a:extLst>
              <a:ext uri="{FF2B5EF4-FFF2-40B4-BE49-F238E27FC236}">
                <a16:creationId xmlns:a16="http://schemas.microsoft.com/office/drawing/2014/main" id="{0F95D988-D8DF-E798-D7E2-673C97BD8673}"/>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6124010" y="4321465"/>
            <a:ext cx="833411" cy="833411"/>
          </a:xfrm>
          <a:prstGeom prst="rect">
            <a:avLst/>
          </a:prstGeom>
        </p:spPr>
      </p:pic>
      <p:sp>
        <p:nvSpPr>
          <p:cNvPr id="3" name="Slide Number Placeholder 2">
            <a:extLst>
              <a:ext uri="{FF2B5EF4-FFF2-40B4-BE49-F238E27FC236}">
                <a16:creationId xmlns:a16="http://schemas.microsoft.com/office/drawing/2014/main" id="{C4298836-913A-42F1-C1ED-444CA0F5C6FE}"/>
              </a:ext>
            </a:extLst>
          </p:cNvPr>
          <p:cNvSpPr>
            <a:spLocks noGrp="1"/>
          </p:cNvSpPr>
          <p:nvPr>
            <p:ph type="sldNum" sz="quarter" idx="11"/>
          </p:nvPr>
        </p:nvSpPr>
        <p:spPr/>
        <p:txBody>
          <a:bodyPr/>
          <a:lstStyle/>
          <a:p>
            <a:fld id="{6D22F896-40B5-4ADD-8801-0D06FADFA095}" type="slidenum">
              <a:rPr lang="en-US" smtClean="0"/>
              <a:pPr/>
              <a:t>5</a:t>
            </a:fld>
            <a:endParaRPr lang="en-US"/>
          </a:p>
        </p:txBody>
      </p:sp>
    </p:spTree>
    <p:extLst>
      <p:ext uri="{BB962C8B-B14F-4D97-AF65-F5344CB8AC3E}">
        <p14:creationId xmlns:p14="http://schemas.microsoft.com/office/powerpoint/2010/main" val="415300775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EEBB9-6AE3-0D30-9EDF-E81E14A86F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F9C921-962E-0D92-63B7-6400C09BD110}"/>
              </a:ext>
            </a:extLst>
          </p:cNvPr>
          <p:cNvSpPr>
            <a:spLocks noGrp="1"/>
          </p:cNvSpPr>
          <p:nvPr>
            <p:ph type="title"/>
          </p:nvPr>
        </p:nvSpPr>
        <p:spPr>
          <a:xfrm>
            <a:off x="284361" y="457274"/>
            <a:ext cx="10670780" cy="418576"/>
          </a:xfrm>
        </p:spPr>
        <p:txBody>
          <a:bodyPr/>
          <a:lstStyle/>
          <a:p>
            <a:r>
              <a:rPr lang="en-US"/>
              <a:t>High Level Process Flow: Partner Initiated Financing Quote </a:t>
            </a:r>
          </a:p>
        </p:txBody>
      </p:sp>
      <p:sp>
        <p:nvSpPr>
          <p:cNvPr id="3" name="Slide Number Placeholder 2">
            <a:extLst>
              <a:ext uri="{FF2B5EF4-FFF2-40B4-BE49-F238E27FC236}">
                <a16:creationId xmlns:a16="http://schemas.microsoft.com/office/drawing/2014/main" id="{B629839F-CF8E-4764-AC28-0167854CBB9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6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grpSp>
        <p:nvGrpSpPr>
          <p:cNvPr id="33" name="Group 32">
            <a:extLst>
              <a:ext uri="{FF2B5EF4-FFF2-40B4-BE49-F238E27FC236}">
                <a16:creationId xmlns:a16="http://schemas.microsoft.com/office/drawing/2014/main" id="{49323C2B-76F8-498C-6CB3-2A164334D376}"/>
              </a:ext>
            </a:extLst>
          </p:cNvPr>
          <p:cNvGrpSpPr/>
          <p:nvPr/>
        </p:nvGrpSpPr>
        <p:grpSpPr>
          <a:xfrm>
            <a:off x="284361" y="950451"/>
            <a:ext cx="11202249" cy="5450275"/>
            <a:chOff x="442388" y="1061771"/>
            <a:chExt cx="11202249" cy="5450275"/>
          </a:xfrm>
        </p:grpSpPr>
        <p:graphicFrame>
          <p:nvGraphicFramePr>
            <p:cNvPr id="4" name="Diagram 3">
              <a:extLst>
                <a:ext uri="{FF2B5EF4-FFF2-40B4-BE49-F238E27FC236}">
                  <a16:creationId xmlns:a16="http://schemas.microsoft.com/office/drawing/2014/main" id="{91499CDB-003C-8649-D0ED-E6E4EB1C0785}"/>
                </a:ext>
              </a:extLst>
            </p:cNvPr>
            <p:cNvGraphicFramePr/>
            <p:nvPr>
              <p:extLst>
                <p:ext uri="{D42A27DB-BD31-4B8C-83A1-F6EECF244321}">
                  <p14:modId xmlns:p14="http://schemas.microsoft.com/office/powerpoint/2010/main" val="3641407233"/>
                </p:ext>
              </p:extLst>
            </p:nvPr>
          </p:nvGraphicFramePr>
          <p:xfrm>
            <a:off x="442388" y="1061771"/>
            <a:ext cx="11202249" cy="5450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Rounded Corners 4">
              <a:extLst>
                <a:ext uri="{FF2B5EF4-FFF2-40B4-BE49-F238E27FC236}">
                  <a16:creationId xmlns:a16="http://schemas.microsoft.com/office/drawing/2014/main" id="{A9ABA394-9365-578B-C463-18DC829B9CD8}"/>
                </a:ext>
              </a:extLst>
            </p:cNvPr>
            <p:cNvSpPr/>
            <p:nvPr/>
          </p:nvSpPr>
          <p:spPr>
            <a:xfrm>
              <a:off x="442388" y="4447821"/>
              <a:ext cx="1341256" cy="226461"/>
            </a:xfrm>
            <a:prstGeom prst="round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400">
                  <a:solidFill>
                    <a:schemeClr val="accent4"/>
                  </a:solidFill>
                </a:rPr>
                <a:t>Partner</a:t>
              </a:r>
            </a:p>
          </p:txBody>
        </p:sp>
        <p:sp>
          <p:nvSpPr>
            <p:cNvPr id="12" name="Rectangle: Rounded Corners 11">
              <a:extLst>
                <a:ext uri="{FF2B5EF4-FFF2-40B4-BE49-F238E27FC236}">
                  <a16:creationId xmlns:a16="http://schemas.microsoft.com/office/drawing/2014/main" id="{CDB5CD37-8B80-1B65-654C-5A5B3F75BDCF}"/>
                </a:ext>
              </a:extLst>
            </p:cNvPr>
            <p:cNvSpPr/>
            <p:nvPr/>
          </p:nvSpPr>
          <p:spPr>
            <a:xfrm>
              <a:off x="8906866" y="4410800"/>
              <a:ext cx="1341256" cy="226461"/>
            </a:xfrm>
            <a:prstGeom prst="round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400">
                  <a:solidFill>
                    <a:schemeClr val="accent4"/>
                  </a:solidFill>
                </a:rPr>
                <a:t>Partner</a:t>
              </a:r>
            </a:p>
          </p:txBody>
        </p:sp>
        <p:sp>
          <p:nvSpPr>
            <p:cNvPr id="14" name="Rectangle: Rounded Corners 13">
              <a:extLst>
                <a:ext uri="{FF2B5EF4-FFF2-40B4-BE49-F238E27FC236}">
                  <a16:creationId xmlns:a16="http://schemas.microsoft.com/office/drawing/2014/main" id="{74927096-3CF3-9E57-E6F2-1BB579E8AA2D}"/>
                </a:ext>
              </a:extLst>
            </p:cNvPr>
            <p:cNvSpPr/>
            <p:nvPr/>
          </p:nvSpPr>
          <p:spPr>
            <a:xfrm>
              <a:off x="7492494" y="4414661"/>
              <a:ext cx="1341256" cy="226461"/>
            </a:xfrm>
            <a:prstGeom prst="round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400">
                  <a:solidFill>
                    <a:schemeClr val="accent4"/>
                  </a:solidFill>
                </a:rPr>
                <a:t>Partner</a:t>
              </a:r>
            </a:p>
          </p:txBody>
        </p:sp>
        <p:sp>
          <p:nvSpPr>
            <p:cNvPr id="15" name="Rectangle: Rounded Corners 14">
              <a:extLst>
                <a:ext uri="{FF2B5EF4-FFF2-40B4-BE49-F238E27FC236}">
                  <a16:creationId xmlns:a16="http://schemas.microsoft.com/office/drawing/2014/main" id="{A02E4A66-35A2-E62E-0474-875CF2021190}"/>
                </a:ext>
              </a:extLst>
            </p:cNvPr>
            <p:cNvSpPr/>
            <p:nvPr/>
          </p:nvSpPr>
          <p:spPr>
            <a:xfrm>
              <a:off x="4659898" y="4419097"/>
              <a:ext cx="1341256" cy="226461"/>
            </a:xfrm>
            <a:prstGeom prst="round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400">
                  <a:solidFill>
                    <a:schemeClr val="accent4"/>
                  </a:solidFill>
                </a:rPr>
                <a:t>Partner</a:t>
              </a:r>
            </a:p>
          </p:txBody>
        </p:sp>
        <p:sp>
          <p:nvSpPr>
            <p:cNvPr id="16" name="Rectangle: Rounded Corners 15">
              <a:extLst>
                <a:ext uri="{FF2B5EF4-FFF2-40B4-BE49-F238E27FC236}">
                  <a16:creationId xmlns:a16="http://schemas.microsoft.com/office/drawing/2014/main" id="{435B1996-EDEC-F46E-75B4-297502B0933B}"/>
                </a:ext>
              </a:extLst>
            </p:cNvPr>
            <p:cNvSpPr/>
            <p:nvPr/>
          </p:nvSpPr>
          <p:spPr>
            <a:xfrm>
              <a:off x="3272570" y="4423295"/>
              <a:ext cx="1341256" cy="226461"/>
            </a:xfrm>
            <a:prstGeom prst="round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400">
                  <a:solidFill>
                    <a:schemeClr val="accent4"/>
                  </a:solidFill>
                </a:rPr>
                <a:t>Partner</a:t>
              </a:r>
            </a:p>
          </p:txBody>
        </p:sp>
        <p:sp>
          <p:nvSpPr>
            <p:cNvPr id="17" name="Rectangle: Rounded Corners 16">
              <a:extLst>
                <a:ext uri="{FF2B5EF4-FFF2-40B4-BE49-F238E27FC236}">
                  <a16:creationId xmlns:a16="http://schemas.microsoft.com/office/drawing/2014/main" id="{3671D133-6DEA-E307-BA5C-14B2194848F8}"/>
                </a:ext>
              </a:extLst>
            </p:cNvPr>
            <p:cNvSpPr/>
            <p:nvPr/>
          </p:nvSpPr>
          <p:spPr>
            <a:xfrm>
              <a:off x="1857479" y="4441335"/>
              <a:ext cx="1341256" cy="226461"/>
            </a:xfrm>
            <a:prstGeom prst="round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400">
                  <a:solidFill>
                    <a:schemeClr val="accent4"/>
                  </a:solidFill>
                </a:rPr>
                <a:t>Partner</a:t>
              </a:r>
            </a:p>
          </p:txBody>
        </p:sp>
        <p:sp>
          <p:nvSpPr>
            <p:cNvPr id="19" name="Rectangle: Rounded Corners 18">
              <a:extLst>
                <a:ext uri="{FF2B5EF4-FFF2-40B4-BE49-F238E27FC236}">
                  <a16:creationId xmlns:a16="http://schemas.microsoft.com/office/drawing/2014/main" id="{6703B09E-4736-D511-BC4E-0E3010D6861D}"/>
                </a:ext>
              </a:extLst>
            </p:cNvPr>
            <p:cNvSpPr/>
            <p:nvPr/>
          </p:nvSpPr>
          <p:spPr>
            <a:xfrm>
              <a:off x="6071497" y="4419097"/>
              <a:ext cx="1341256" cy="226461"/>
            </a:xfrm>
            <a:prstGeom prst="roundRect">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400">
                  <a:solidFill>
                    <a:schemeClr val="accent4"/>
                  </a:solidFill>
                </a:rPr>
                <a:t>Automatic</a:t>
              </a:r>
            </a:p>
          </p:txBody>
        </p:sp>
        <p:sp>
          <p:nvSpPr>
            <p:cNvPr id="30" name="Rectangle: Rounded Corners 29">
              <a:extLst>
                <a:ext uri="{FF2B5EF4-FFF2-40B4-BE49-F238E27FC236}">
                  <a16:creationId xmlns:a16="http://schemas.microsoft.com/office/drawing/2014/main" id="{408DBF5A-C98A-9900-C466-077B854F3871}"/>
                </a:ext>
              </a:extLst>
            </p:cNvPr>
            <p:cNvSpPr/>
            <p:nvPr/>
          </p:nvSpPr>
          <p:spPr>
            <a:xfrm>
              <a:off x="10298373" y="4410800"/>
              <a:ext cx="1341256" cy="226461"/>
            </a:xfrm>
            <a:prstGeom prst="roundRect">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1400">
                  <a:solidFill>
                    <a:schemeClr val="accent4"/>
                  </a:solidFill>
                </a:rPr>
                <a:t>Automatic</a:t>
              </a:r>
            </a:p>
          </p:txBody>
        </p:sp>
      </p:grpSp>
    </p:spTree>
    <p:extLst>
      <p:ext uri="{BB962C8B-B14F-4D97-AF65-F5344CB8AC3E}">
        <p14:creationId xmlns:p14="http://schemas.microsoft.com/office/powerpoint/2010/main" val="3721041513"/>
      </p:ext>
    </p:extLst>
  </p:cSld>
  <p:clrMapOvr>
    <a:masterClrMapping/>
  </p:clrMapOvr>
  <p:transition spd="med"/>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998ED-933B-A2CF-E0DA-79E0AD8F9E0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3B7BC3F-9879-5A96-78E8-26FAA39533DF}"/>
              </a:ext>
            </a:extLst>
          </p:cNvPr>
          <p:cNvSpPr>
            <a:spLocks noGrp="1"/>
          </p:cNvSpPr>
          <p:nvPr>
            <p:ph type="title"/>
          </p:nvPr>
        </p:nvSpPr>
        <p:spPr>
          <a:xfrm>
            <a:off x="199400" y="250228"/>
            <a:ext cx="10670780" cy="418576"/>
          </a:xfrm>
        </p:spPr>
        <p:txBody>
          <a:bodyPr/>
          <a:lstStyle/>
          <a:p>
            <a:r>
              <a:rPr lang="en-US"/>
              <a:t>Partner Initiated Quote: Financing in LBP-e Bid</a:t>
            </a:r>
          </a:p>
        </p:txBody>
      </p:sp>
      <p:pic>
        <p:nvPicPr>
          <p:cNvPr id="9" name="Picture 2">
            <a:extLst>
              <a:ext uri="{FF2B5EF4-FFF2-40B4-BE49-F238E27FC236}">
                <a16:creationId xmlns:a16="http://schemas.microsoft.com/office/drawing/2014/main" id="{D6479AEE-70B5-6547-55AA-1893593506F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44233"/>
          <a:stretch/>
        </p:blipFill>
        <p:spPr bwMode="auto">
          <a:xfrm>
            <a:off x="129606" y="901640"/>
            <a:ext cx="8658173" cy="587406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2E1C0348-229A-E26B-8F93-7269B170CA91}"/>
              </a:ext>
            </a:extLst>
          </p:cNvPr>
          <p:cNvPicPr>
            <a:picLocks noChangeAspect="1"/>
          </p:cNvPicPr>
          <p:nvPr/>
        </p:nvPicPr>
        <p:blipFill>
          <a:blip r:embed="rId3"/>
          <a:stretch>
            <a:fillRect/>
          </a:stretch>
        </p:blipFill>
        <p:spPr>
          <a:xfrm>
            <a:off x="7490524" y="1711579"/>
            <a:ext cx="1297254" cy="343557"/>
          </a:xfrm>
          <a:prstGeom prst="rect">
            <a:avLst/>
          </a:prstGeom>
        </p:spPr>
      </p:pic>
      <p:sp>
        <p:nvSpPr>
          <p:cNvPr id="4" name="Rectangle 3">
            <a:extLst>
              <a:ext uri="{FF2B5EF4-FFF2-40B4-BE49-F238E27FC236}">
                <a16:creationId xmlns:a16="http://schemas.microsoft.com/office/drawing/2014/main" id="{21B76132-E605-F43A-0AE9-5DDC2D7CCFAF}"/>
              </a:ext>
            </a:extLst>
          </p:cNvPr>
          <p:cNvSpPr/>
          <p:nvPr/>
        </p:nvSpPr>
        <p:spPr>
          <a:xfrm>
            <a:off x="3064828" y="6512083"/>
            <a:ext cx="960120" cy="25603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l"/>
            <a:endParaRPr lang="en-US" sz="1400" err="1">
              <a:solidFill>
                <a:schemeClr val="tx1">
                  <a:lumMod val="75000"/>
                  <a:lumOff val="25000"/>
                </a:schemeClr>
              </a:solidFill>
            </a:endParaRPr>
          </a:p>
        </p:txBody>
      </p:sp>
      <p:sp>
        <p:nvSpPr>
          <p:cNvPr id="2" name="Rectangle 1">
            <a:extLst>
              <a:ext uri="{FF2B5EF4-FFF2-40B4-BE49-F238E27FC236}">
                <a16:creationId xmlns:a16="http://schemas.microsoft.com/office/drawing/2014/main" id="{A9EEF673-3CC8-A223-D32B-765771D9EF0C}"/>
              </a:ext>
            </a:extLst>
          </p:cNvPr>
          <p:cNvSpPr/>
          <p:nvPr/>
        </p:nvSpPr>
        <p:spPr>
          <a:xfrm>
            <a:off x="4865203" y="3930643"/>
            <a:ext cx="1744917" cy="5232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l"/>
            <a:endParaRPr lang="en-US" sz="1400" err="1">
              <a:solidFill>
                <a:schemeClr val="tx1">
                  <a:lumMod val="75000"/>
                  <a:lumOff val="25000"/>
                </a:schemeClr>
              </a:solidFill>
            </a:endParaRPr>
          </a:p>
        </p:txBody>
      </p:sp>
      <p:pic>
        <p:nvPicPr>
          <p:cNvPr id="11" name="Picture 10">
            <a:extLst>
              <a:ext uri="{FF2B5EF4-FFF2-40B4-BE49-F238E27FC236}">
                <a16:creationId xmlns:a16="http://schemas.microsoft.com/office/drawing/2014/main" id="{B1F72CC7-8241-704F-E227-1D07AEA77B26}"/>
              </a:ext>
            </a:extLst>
          </p:cNvPr>
          <p:cNvPicPr>
            <a:picLocks noChangeAspect="1"/>
          </p:cNvPicPr>
          <p:nvPr/>
        </p:nvPicPr>
        <p:blipFill>
          <a:blip r:embed="rId4"/>
          <a:stretch>
            <a:fillRect/>
          </a:stretch>
        </p:blipFill>
        <p:spPr>
          <a:xfrm>
            <a:off x="7472237" y="1702434"/>
            <a:ext cx="1329863" cy="351368"/>
          </a:xfrm>
          <a:prstGeom prst="rect">
            <a:avLst/>
          </a:prstGeom>
        </p:spPr>
      </p:pic>
      <p:pic>
        <p:nvPicPr>
          <p:cNvPr id="15" name="Picture 14">
            <a:extLst>
              <a:ext uri="{FF2B5EF4-FFF2-40B4-BE49-F238E27FC236}">
                <a16:creationId xmlns:a16="http://schemas.microsoft.com/office/drawing/2014/main" id="{23907BC2-11F1-7384-91E6-887CB128446C}"/>
              </a:ext>
            </a:extLst>
          </p:cNvPr>
          <p:cNvPicPr>
            <a:picLocks noChangeAspect="1"/>
          </p:cNvPicPr>
          <p:nvPr/>
        </p:nvPicPr>
        <p:blipFill>
          <a:blip r:embed="rId4"/>
          <a:stretch>
            <a:fillRect/>
          </a:stretch>
        </p:blipFill>
        <p:spPr>
          <a:xfrm>
            <a:off x="9341885" y="1456868"/>
            <a:ext cx="2848529" cy="752621"/>
          </a:xfrm>
          <a:prstGeom prst="rect">
            <a:avLst/>
          </a:prstGeom>
        </p:spPr>
      </p:pic>
      <p:sp>
        <p:nvSpPr>
          <p:cNvPr id="5" name="TextBox 4">
            <a:extLst>
              <a:ext uri="{FF2B5EF4-FFF2-40B4-BE49-F238E27FC236}">
                <a16:creationId xmlns:a16="http://schemas.microsoft.com/office/drawing/2014/main" id="{F52FECEE-9F73-A38F-4F70-6BF01FE6FB05}"/>
              </a:ext>
            </a:extLst>
          </p:cNvPr>
          <p:cNvSpPr txBox="1"/>
          <p:nvPr/>
        </p:nvSpPr>
        <p:spPr>
          <a:xfrm>
            <a:off x="9341884" y="3216654"/>
            <a:ext cx="2848528" cy="2462213"/>
          </a:xfrm>
          <a:prstGeom prst="rect">
            <a:avLst/>
          </a:prstGeom>
          <a:noFill/>
        </p:spPr>
        <p:txBody>
          <a:bodyPr wrap="square" rtlCol="0">
            <a:spAutoFit/>
          </a:bodyPr>
          <a:lstStyle/>
          <a:p>
            <a:pPr marL="112713" indent="-112713">
              <a:spcBef>
                <a:spcPts val="1200"/>
              </a:spcBef>
              <a:buFont typeface="Arial" panose="020B0604020202020204" pitchFamily="34" charset="0"/>
              <a:buChar char="•"/>
            </a:pPr>
            <a:r>
              <a:rPr lang="en-US" sz="1400">
                <a:solidFill>
                  <a:schemeClr val="bg1"/>
                </a:solidFill>
                <a:latin typeface="Arial" pitchFamily="34" charset="0"/>
                <a:cs typeface="Arial" pitchFamily="34" charset="0"/>
              </a:rPr>
              <a:t>Displaying Monthly Price based on 36 Month Option</a:t>
            </a:r>
          </a:p>
          <a:p>
            <a:pPr marL="112713" indent="-112713">
              <a:spcBef>
                <a:spcPts val="1200"/>
              </a:spcBef>
              <a:buFont typeface="Arial" panose="020B0604020202020204" pitchFamily="34" charset="0"/>
              <a:buChar char="•"/>
            </a:pPr>
            <a:r>
              <a:rPr lang="en-US" sz="1400">
                <a:solidFill>
                  <a:schemeClr val="bg1"/>
                </a:solidFill>
                <a:latin typeface="Arial" pitchFamily="34" charset="0"/>
                <a:cs typeface="Arial" pitchFamily="34" charset="0"/>
              </a:rPr>
              <a:t>Price displayed in same currency as LBP-e quote</a:t>
            </a:r>
          </a:p>
          <a:p>
            <a:pPr marL="112713" indent="-112713">
              <a:spcBef>
                <a:spcPts val="1200"/>
              </a:spcBef>
              <a:buFont typeface="Arial" panose="020B0604020202020204" pitchFamily="34" charset="0"/>
              <a:buChar char="•"/>
            </a:pPr>
            <a:r>
              <a:rPr lang="en-US" sz="1400">
                <a:solidFill>
                  <a:schemeClr val="bg1"/>
                </a:solidFill>
                <a:latin typeface="Arial" pitchFamily="34" charset="0"/>
                <a:cs typeface="Arial" pitchFamily="34" charset="0"/>
              </a:rPr>
              <a:t>Displaying Financing Window only when quoted price is meeting or above minimum funding amount </a:t>
            </a:r>
            <a:r>
              <a:rPr lang="en-US" sz="1100">
                <a:solidFill>
                  <a:schemeClr val="bg1"/>
                </a:solidFill>
                <a:latin typeface="Arial" pitchFamily="34" charset="0"/>
                <a:cs typeface="Arial" pitchFamily="34" charset="0"/>
              </a:rPr>
              <a:t>(minimum funding amount is set in USD, and it is converted to the currency in a quote to compare)</a:t>
            </a:r>
            <a:endParaRPr lang="en-US" sz="1200">
              <a:solidFill>
                <a:schemeClr val="bg1"/>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278960D3-F16E-3235-F7B3-4E8832EA0587}"/>
              </a:ext>
            </a:extLst>
          </p:cNvPr>
          <p:cNvPicPr>
            <a:picLocks noChangeAspect="1"/>
          </p:cNvPicPr>
          <p:nvPr/>
        </p:nvPicPr>
        <p:blipFill>
          <a:blip r:embed="rId5"/>
          <a:stretch>
            <a:fillRect/>
          </a:stretch>
        </p:blipFill>
        <p:spPr>
          <a:xfrm>
            <a:off x="9341882" y="2393499"/>
            <a:ext cx="2848527" cy="823155"/>
          </a:xfrm>
          <a:prstGeom prst="rect">
            <a:avLst/>
          </a:prstGeom>
        </p:spPr>
      </p:pic>
      <p:sp>
        <p:nvSpPr>
          <p:cNvPr id="10" name="Rectangle 9">
            <a:extLst>
              <a:ext uri="{FF2B5EF4-FFF2-40B4-BE49-F238E27FC236}">
                <a16:creationId xmlns:a16="http://schemas.microsoft.com/office/drawing/2014/main" id="{68B95EBA-16EF-C5FC-25C5-9E9916D06852}"/>
              </a:ext>
            </a:extLst>
          </p:cNvPr>
          <p:cNvSpPr/>
          <p:nvPr/>
        </p:nvSpPr>
        <p:spPr>
          <a:xfrm>
            <a:off x="10525125" y="309626"/>
            <a:ext cx="1584905" cy="520282"/>
          </a:xfrm>
          <a:prstGeom prst="rect">
            <a:avLst/>
          </a:prstGeom>
          <a:solidFill>
            <a:schemeClr val="bg1">
              <a:lumMod val="95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r>
              <a:rPr lang="en-US" sz="1400" b="1">
                <a:solidFill>
                  <a:srgbClr val="0000FF"/>
                </a:solidFill>
              </a:rPr>
              <a:t>Executed by Channel Partner</a:t>
            </a:r>
          </a:p>
        </p:txBody>
      </p:sp>
      <mc:AlternateContent xmlns:mc="http://schemas.openxmlformats.org/markup-compatibility/2006">
        <mc:Choice xmlns:p14="http://schemas.microsoft.com/office/powerpoint/2010/main" Requires="p14">
          <p:contentPart p14:bwMode="auto" r:id="rId6">
            <p14:nvContentPartPr>
              <p14:cNvPr id="6" name="Ink 5">
                <a:extLst>
                  <a:ext uri="{FF2B5EF4-FFF2-40B4-BE49-F238E27FC236}">
                    <a16:creationId xmlns:a16="http://schemas.microsoft.com/office/drawing/2014/main" id="{46A04F3B-7763-185A-69C6-73BB4DD4A2C6}"/>
                  </a:ext>
                </a:extLst>
              </p14:cNvPr>
              <p14:cNvContentPartPr/>
              <p14:nvPr/>
            </p14:nvContentPartPr>
            <p14:xfrm>
              <a:off x="7492999" y="1957455"/>
              <a:ext cx="1158667" cy="22184"/>
            </p14:xfrm>
          </p:contentPart>
        </mc:Choice>
        <mc:Fallback>
          <p:pic>
            <p:nvPicPr>
              <p:cNvPr id="6" name="Ink 5">
                <a:extLst>
                  <a:ext uri="{FF2B5EF4-FFF2-40B4-BE49-F238E27FC236}">
                    <a16:creationId xmlns:a16="http://schemas.microsoft.com/office/drawing/2014/main" id="{46A04F3B-7763-185A-69C6-73BB4DD4A2C6}"/>
                  </a:ext>
                </a:extLst>
              </p:cNvPr>
              <p:cNvPicPr/>
              <p:nvPr/>
            </p:nvPicPr>
            <p:blipFill>
              <a:blip r:embed="rId7"/>
              <a:stretch>
                <a:fillRect/>
              </a:stretch>
            </p:blipFill>
            <p:spPr>
              <a:xfrm>
                <a:off x="7439384" y="1851817"/>
                <a:ext cx="1266258" cy="233108"/>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7" name="Ink 6">
                <a:extLst>
                  <a:ext uri="{FF2B5EF4-FFF2-40B4-BE49-F238E27FC236}">
                    <a16:creationId xmlns:a16="http://schemas.microsoft.com/office/drawing/2014/main" id="{5FFDC5BC-F45E-FF2B-76D3-D930781D6413}"/>
                  </a:ext>
                </a:extLst>
              </p14:cNvPr>
              <p14:cNvContentPartPr/>
              <p14:nvPr/>
            </p14:nvContentPartPr>
            <p14:xfrm>
              <a:off x="7440082" y="1756833"/>
              <a:ext cx="1243911" cy="21704"/>
            </p14:xfrm>
          </p:contentPart>
        </mc:Choice>
        <mc:Fallback>
          <p:pic>
            <p:nvPicPr>
              <p:cNvPr id="7" name="Ink 6">
                <a:extLst>
                  <a:ext uri="{FF2B5EF4-FFF2-40B4-BE49-F238E27FC236}">
                    <a16:creationId xmlns:a16="http://schemas.microsoft.com/office/drawing/2014/main" id="{5FFDC5BC-F45E-FF2B-76D3-D930781D6413}"/>
                  </a:ext>
                </a:extLst>
              </p:cNvPr>
              <p:cNvPicPr/>
              <p:nvPr/>
            </p:nvPicPr>
            <p:blipFill>
              <a:blip r:embed="rId9"/>
              <a:stretch>
                <a:fillRect/>
              </a:stretch>
            </p:blipFill>
            <p:spPr>
              <a:xfrm>
                <a:off x="7386453" y="1650448"/>
                <a:ext cx="1351529" cy="234830"/>
              </a:xfrm>
              <a:prstGeom prst="rect">
                <a:avLst/>
              </a:prstGeom>
            </p:spPr>
          </p:pic>
        </mc:Fallback>
      </mc:AlternateContent>
    </p:spTree>
    <p:extLst>
      <p:ext uri="{BB962C8B-B14F-4D97-AF65-F5344CB8AC3E}">
        <p14:creationId xmlns:p14="http://schemas.microsoft.com/office/powerpoint/2010/main" val="355474496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66D7E-35DC-BE14-2849-07C8EF94A64E}"/>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D2592375-0435-FFB9-D0D3-726D835EE047}"/>
              </a:ext>
            </a:extLst>
          </p:cNvPr>
          <p:cNvSpPr>
            <a:spLocks noGrp="1"/>
          </p:cNvSpPr>
          <p:nvPr>
            <p:ph type="sldNum" sz="quarter" idx="10"/>
          </p:nvPr>
        </p:nvSpPr>
        <p:spPr/>
        <p:txBody>
          <a:bodyPr/>
          <a:lstStyle/>
          <a:p>
            <a:fld id="{6D22F896-40B5-4ADD-8801-0D06FADFA095}" type="slidenum">
              <a:rPr lang="en-US" smtClean="0"/>
              <a:pPr/>
              <a:t>8</a:t>
            </a:fld>
            <a:endParaRPr lang="en-US"/>
          </a:p>
        </p:txBody>
      </p:sp>
      <p:pic>
        <p:nvPicPr>
          <p:cNvPr id="5" name="Picture 4">
            <a:extLst>
              <a:ext uri="{FF2B5EF4-FFF2-40B4-BE49-F238E27FC236}">
                <a16:creationId xmlns:a16="http://schemas.microsoft.com/office/drawing/2014/main" id="{6E27FD9B-0342-6D56-65D6-81E304590103}"/>
              </a:ext>
            </a:extLst>
          </p:cNvPr>
          <p:cNvPicPr>
            <a:picLocks noChangeAspect="1"/>
          </p:cNvPicPr>
          <p:nvPr/>
        </p:nvPicPr>
        <p:blipFill>
          <a:blip r:embed="rId2"/>
          <a:stretch>
            <a:fillRect/>
          </a:stretch>
        </p:blipFill>
        <p:spPr>
          <a:xfrm>
            <a:off x="0" y="462771"/>
            <a:ext cx="12192000" cy="5932457"/>
          </a:xfrm>
          <a:prstGeom prst="rect">
            <a:avLst/>
          </a:prstGeom>
        </p:spPr>
      </p:pic>
      <p:sp>
        <p:nvSpPr>
          <p:cNvPr id="6" name="Rectangle 5">
            <a:extLst>
              <a:ext uri="{FF2B5EF4-FFF2-40B4-BE49-F238E27FC236}">
                <a16:creationId xmlns:a16="http://schemas.microsoft.com/office/drawing/2014/main" id="{360C1667-C716-5B66-063C-FB35F6E0E54F}"/>
              </a:ext>
            </a:extLst>
          </p:cNvPr>
          <p:cNvSpPr/>
          <p:nvPr/>
        </p:nvSpPr>
        <p:spPr>
          <a:xfrm>
            <a:off x="1820174" y="2786332"/>
            <a:ext cx="2389517" cy="3191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US" sz="1600" err="1">
              <a:solidFill>
                <a:prstClr val="white"/>
              </a:solidFill>
            </a:endParaRPr>
          </a:p>
        </p:txBody>
      </p:sp>
      <p:sp>
        <p:nvSpPr>
          <p:cNvPr id="7" name="Rectangle 6">
            <a:extLst>
              <a:ext uri="{FF2B5EF4-FFF2-40B4-BE49-F238E27FC236}">
                <a16:creationId xmlns:a16="http://schemas.microsoft.com/office/drawing/2014/main" id="{EF1E8AC4-F080-9540-B826-A93F6ADBFF26}"/>
              </a:ext>
            </a:extLst>
          </p:cNvPr>
          <p:cNvSpPr/>
          <p:nvPr/>
        </p:nvSpPr>
        <p:spPr>
          <a:xfrm>
            <a:off x="10463842" y="1406106"/>
            <a:ext cx="1728158" cy="7246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lang="en-US" sz="1600" err="1">
              <a:solidFill>
                <a:prstClr val="white"/>
              </a:solidFill>
            </a:endParaRPr>
          </a:p>
        </p:txBody>
      </p:sp>
    </p:spTree>
    <p:extLst>
      <p:ext uri="{BB962C8B-B14F-4D97-AF65-F5344CB8AC3E}">
        <p14:creationId xmlns:p14="http://schemas.microsoft.com/office/powerpoint/2010/main" val="228138053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B8F37-9198-8F22-40B9-2B64F651750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7FEF8E7-51C0-7530-23CA-FE07382A40C3}"/>
              </a:ext>
            </a:extLst>
          </p:cNvPr>
          <p:cNvSpPr>
            <a:spLocks noGrp="1"/>
          </p:cNvSpPr>
          <p:nvPr>
            <p:ph type="title"/>
          </p:nvPr>
        </p:nvSpPr>
        <p:spPr>
          <a:xfrm>
            <a:off x="384927" y="249547"/>
            <a:ext cx="10670780" cy="418576"/>
          </a:xfrm>
        </p:spPr>
        <p:txBody>
          <a:bodyPr/>
          <a:lstStyle/>
          <a:p>
            <a:r>
              <a:rPr lang="en-US"/>
              <a:t>Financing quote in LBP-e Bid</a:t>
            </a:r>
          </a:p>
        </p:txBody>
      </p:sp>
      <p:sp>
        <p:nvSpPr>
          <p:cNvPr id="28" name="TextBox 27">
            <a:extLst>
              <a:ext uri="{FF2B5EF4-FFF2-40B4-BE49-F238E27FC236}">
                <a16:creationId xmlns:a16="http://schemas.microsoft.com/office/drawing/2014/main" id="{1EC2982F-520E-1D19-4516-7185560AF8AE}"/>
              </a:ext>
            </a:extLst>
          </p:cNvPr>
          <p:cNvSpPr txBox="1"/>
          <p:nvPr/>
        </p:nvSpPr>
        <p:spPr>
          <a:xfrm>
            <a:off x="8970621" y="1402316"/>
            <a:ext cx="3233778" cy="3985706"/>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a:solidFill>
                  <a:schemeClr val="bg1"/>
                </a:solidFill>
                <a:latin typeface="Arial" pitchFamily="34" charset="0"/>
                <a:cs typeface="Arial" pitchFamily="34" charset="0"/>
              </a:rPr>
              <a:t>Name of LGFS BDM &amp; LGFS Sales Support will be displayed within pop-up window (receivers of this request) upon clicking “Request Quote”</a:t>
            </a:r>
          </a:p>
          <a:p>
            <a:pPr marL="285750" indent="-285750">
              <a:spcAft>
                <a:spcPts val="600"/>
              </a:spcAft>
              <a:buFont typeface="Arial" panose="020B0604020202020204" pitchFamily="34" charset="0"/>
              <a:buChar char="•"/>
            </a:pPr>
            <a:r>
              <a:rPr lang="en-US" sz="1400">
                <a:solidFill>
                  <a:schemeClr val="bg1"/>
                </a:solidFill>
                <a:latin typeface="Arial" pitchFamily="34" charset="0"/>
                <a:cs typeface="Arial" pitchFamily="34" charset="0"/>
              </a:rPr>
              <a:t>If quote is transferred from LBP-i with toggle, # of month option is preselected with indicator.</a:t>
            </a:r>
          </a:p>
          <a:p>
            <a:pPr marL="285750" indent="-285750">
              <a:spcAft>
                <a:spcPts val="600"/>
              </a:spcAft>
              <a:buFont typeface="Arial" panose="020B0604020202020204" pitchFamily="34" charset="0"/>
              <a:buChar char="•"/>
            </a:pPr>
            <a:r>
              <a:rPr lang="en-US" sz="1400">
                <a:solidFill>
                  <a:schemeClr val="bg1"/>
                </a:solidFill>
                <a:latin typeface="Arial" pitchFamily="34" charset="0"/>
                <a:cs typeface="Arial" pitchFamily="34" charset="0"/>
              </a:rPr>
              <a:t>Financing quote is created after price approval, and final adjusted resell price is calculated using uplift % entered.</a:t>
            </a:r>
          </a:p>
          <a:p>
            <a:pPr marL="285750" indent="-285750">
              <a:spcAft>
                <a:spcPts val="600"/>
              </a:spcAft>
              <a:buFont typeface="Arial" panose="020B0604020202020204" pitchFamily="34" charset="0"/>
              <a:buChar char="•"/>
            </a:pPr>
            <a:r>
              <a:rPr lang="en-US" sz="1400">
                <a:solidFill>
                  <a:schemeClr val="bg1"/>
                </a:solidFill>
                <a:latin typeface="Arial" pitchFamily="34" charset="0"/>
                <a:cs typeface="Arial" pitchFamily="34" charset="0"/>
              </a:rPr>
              <a:t>When # of Month Option selected is not aligned with service duration in a quote, it displays a warning when request quote button is selected.</a:t>
            </a:r>
          </a:p>
        </p:txBody>
      </p:sp>
      <p:grpSp>
        <p:nvGrpSpPr>
          <p:cNvPr id="30" name="Group 29">
            <a:extLst>
              <a:ext uri="{FF2B5EF4-FFF2-40B4-BE49-F238E27FC236}">
                <a16:creationId xmlns:a16="http://schemas.microsoft.com/office/drawing/2014/main" id="{2BBDF118-0DF7-D34C-9D84-95811C28E735}"/>
              </a:ext>
            </a:extLst>
          </p:cNvPr>
          <p:cNvGrpSpPr/>
          <p:nvPr/>
        </p:nvGrpSpPr>
        <p:grpSpPr>
          <a:xfrm>
            <a:off x="129607" y="901641"/>
            <a:ext cx="8804339" cy="5759625"/>
            <a:chOff x="129606" y="901640"/>
            <a:chExt cx="9642664" cy="5874064"/>
          </a:xfrm>
        </p:grpSpPr>
        <p:pic>
          <p:nvPicPr>
            <p:cNvPr id="9" name="Picture 2">
              <a:extLst>
                <a:ext uri="{FF2B5EF4-FFF2-40B4-BE49-F238E27FC236}">
                  <a16:creationId xmlns:a16="http://schemas.microsoft.com/office/drawing/2014/main" id="{9E3C08AC-BD2D-3007-FF50-BFBC01086F6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44233"/>
            <a:stretch/>
          </p:blipFill>
          <p:spPr bwMode="auto">
            <a:xfrm>
              <a:off x="129606" y="901640"/>
              <a:ext cx="8658173" cy="58740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D9BC38B-94E8-7F71-F2C6-5CC78B613514}"/>
                </a:ext>
              </a:extLst>
            </p:cNvPr>
            <p:cNvPicPr>
              <a:picLocks noChangeAspect="1"/>
            </p:cNvPicPr>
            <p:nvPr/>
          </p:nvPicPr>
          <p:blipFill>
            <a:blip r:embed="rId4"/>
            <a:stretch>
              <a:fillRect/>
            </a:stretch>
          </p:blipFill>
          <p:spPr>
            <a:xfrm>
              <a:off x="1532262" y="901640"/>
              <a:ext cx="8240008" cy="5874064"/>
            </a:xfrm>
            <a:prstGeom prst="rect">
              <a:avLst/>
            </a:prstGeom>
          </p:spPr>
        </p:pic>
        <p:sp>
          <p:nvSpPr>
            <p:cNvPr id="7" name="Rectangle 6">
              <a:extLst>
                <a:ext uri="{FF2B5EF4-FFF2-40B4-BE49-F238E27FC236}">
                  <a16:creationId xmlns:a16="http://schemas.microsoft.com/office/drawing/2014/main" id="{E11F0442-36C8-A27A-B202-E76AA473B6F7}"/>
                </a:ext>
              </a:extLst>
            </p:cNvPr>
            <p:cNvSpPr/>
            <p:nvPr/>
          </p:nvSpPr>
          <p:spPr>
            <a:xfrm>
              <a:off x="1577982" y="1289616"/>
              <a:ext cx="8170482" cy="53035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l"/>
              <a:endParaRPr lang="en-US" sz="1400" err="1">
                <a:solidFill>
                  <a:schemeClr val="tx1">
                    <a:lumMod val="75000"/>
                    <a:lumOff val="25000"/>
                  </a:schemeClr>
                </a:solidFill>
              </a:endParaRPr>
            </a:p>
          </p:txBody>
        </p:sp>
        <p:pic>
          <p:nvPicPr>
            <p:cNvPr id="6" name="Picture 5">
              <a:extLst>
                <a:ext uri="{FF2B5EF4-FFF2-40B4-BE49-F238E27FC236}">
                  <a16:creationId xmlns:a16="http://schemas.microsoft.com/office/drawing/2014/main" id="{12D79D99-BDDD-3A2F-43FC-0A8509E82EEA}"/>
                </a:ext>
              </a:extLst>
            </p:cNvPr>
            <p:cNvPicPr>
              <a:picLocks noChangeAspect="1"/>
            </p:cNvPicPr>
            <p:nvPr/>
          </p:nvPicPr>
          <p:blipFill>
            <a:blip r:embed="rId4"/>
            <a:srcRect t="13402" b="59496"/>
            <a:stretch>
              <a:fillRect/>
            </a:stretch>
          </p:blipFill>
          <p:spPr>
            <a:xfrm>
              <a:off x="1635566" y="2848996"/>
              <a:ext cx="7152213" cy="1381858"/>
            </a:xfrm>
            <a:prstGeom prst="rect">
              <a:avLst/>
            </a:prstGeom>
          </p:spPr>
        </p:pic>
        <p:sp>
          <p:nvSpPr>
            <p:cNvPr id="8" name="TextBox 7">
              <a:extLst>
                <a:ext uri="{FF2B5EF4-FFF2-40B4-BE49-F238E27FC236}">
                  <a16:creationId xmlns:a16="http://schemas.microsoft.com/office/drawing/2014/main" id="{1CFBC207-2909-F9FC-6548-968CF93FD8FE}"/>
                </a:ext>
              </a:extLst>
            </p:cNvPr>
            <p:cNvSpPr txBox="1"/>
            <p:nvPr/>
          </p:nvSpPr>
          <p:spPr>
            <a:xfrm>
              <a:off x="1690430" y="1646108"/>
              <a:ext cx="1816523" cy="246221"/>
            </a:xfrm>
            <a:prstGeom prst="rect">
              <a:avLst/>
            </a:prstGeom>
            <a:noFill/>
          </p:spPr>
          <p:txBody>
            <a:bodyPr wrap="none" rtlCol="0">
              <a:spAutoFit/>
            </a:bodyPr>
            <a:lstStyle/>
            <a:p>
              <a:pPr algn="l"/>
              <a:r>
                <a:rPr lang="en-US" sz="1000" b="1">
                  <a:solidFill>
                    <a:schemeClr val="tx1">
                      <a:lumMod val="75000"/>
                      <a:lumOff val="25000"/>
                    </a:schemeClr>
                  </a:solidFill>
                  <a:latin typeface="Arial" pitchFamily="34" charset="0"/>
                  <a:cs typeface="Arial" pitchFamily="34" charset="0"/>
                </a:rPr>
                <a:t>Total Estimated Final Price</a:t>
              </a:r>
            </a:p>
          </p:txBody>
        </p:sp>
        <p:sp>
          <p:nvSpPr>
            <p:cNvPr id="10" name="TextBox 9">
              <a:extLst>
                <a:ext uri="{FF2B5EF4-FFF2-40B4-BE49-F238E27FC236}">
                  <a16:creationId xmlns:a16="http://schemas.microsoft.com/office/drawing/2014/main" id="{5CB42DA4-1289-DA4E-C2A4-6138C4D06318}"/>
                </a:ext>
              </a:extLst>
            </p:cNvPr>
            <p:cNvSpPr txBox="1"/>
            <p:nvPr/>
          </p:nvSpPr>
          <p:spPr>
            <a:xfrm>
              <a:off x="2206596" y="1884264"/>
              <a:ext cx="678391" cy="246221"/>
            </a:xfrm>
            <a:prstGeom prst="rect">
              <a:avLst/>
            </a:prstGeom>
            <a:noFill/>
          </p:spPr>
          <p:txBody>
            <a:bodyPr wrap="none" rtlCol="0">
              <a:spAutoFit/>
            </a:bodyPr>
            <a:lstStyle/>
            <a:p>
              <a:pPr algn="l"/>
              <a:r>
                <a:rPr lang="en-US" sz="1000" b="1">
                  <a:solidFill>
                    <a:schemeClr val="tx1">
                      <a:lumMod val="75000"/>
                      <a:lumOff val="25000"/>
                    </a:schemeClr>
                  </a:solidFill>
                  <a:latin typeface="Arial" pitchFamily="34" charset="0"/>
                  <a:cs typeface="Arial" pitchFamily="34" charset="0"/>
                </a:rPr>
                <a:t>6,467.20</a:t>
              </a:r>
            </a:p>
          </p:txBody>
        </p:sp>
        <p:pic>
          <p:nvPicPr>
            <p:cNvPr id="11" name="Picture 2">
              <a:extLst>
                <a:ext uri="{FF2B5EF4-FFF2-40B4-BE49-F238E27FC236}">
                  <a16:creationId xmlns:a16="http://schemas.microsoft.com/office/drawing/2014/main" id="{05B502B0-D3FD-390C-310E-F66F319CC3B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624" t="57957" r="51908" b="35588"/>
            <a:stretch>
              <a:fillRect/>
            </a:stretch>
          </p:blipFill>
          <p:spPr bwMode="auto">
            <a:xfrm>
              <a:off x="3942637" y="1837699"/>
              <a:ext cx="1032109" cy="35547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9253C9CC-7B39-75C1-09BB-237A01BC9AA0}"/>
                </a:ext>
              </a:extLst>
            </p:cNvPr>
            <p:cNvSpPr txBox="1"/>
            <p:nvPr/>
          </p:nvSpPr>
          <p:spPr>
            <a:xfrm>
              <a:off x="3477137" y="1712850"/>
              <a:ext cx="319318" cy="369332"/>
            </a:xfrm>
            <a:prstGeom prst="rect">
              <a:avLst/>
            </a:prstGeom>
            <a:noFill/>
          </p:spPr>
          <p:txBody>
            <a:bodyPr wrap="none" rtlCol="0">
              <a:spAutoFit/>
            </a:bodyPr>
            <a:lstStyle/>
            <a:p>
              <a:pPr algn="l"/>
              <a:r>
                <a:rPr lang="en-US">
                  <a:solidFill>
                    <a:schemeClr val="tx1">
                      <a:lumMod val="75000"/>
                      <a:lumOff val="25000"/>
                    </a:schemeClr>
                  </a:solidFill>
                  <a:latin typeface="Arial" pitchFamily="34" charset="0"/>
                  <a:cs typeface="Arial" pitchFamily="34" charset="0"/>
                </a:rPr>
                <a:t>+</a:t>
              </a:r>
            </a:p>
          </p:txBody>
        </p:sp>
        <p:pic>
          <p:nvPicPr>
            <p:cNvPr id="14" name="Picture 2">
              <a:extLst>
                <a:ext uri="{FF2B5EF4-FFF2-40B4-BE49-F238E27FC236}">
                  <a16:creationId xmlns:a16="http://schemas.microsoft.com/office/drawing/2014/main" id="{D7262DCD-4852-0824-6441-8A64ED24024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624" t="49595" r="54390" b="46788"/>
            <a:stretch>
              <a:fillRect/>
            </a:stretch>
          </p:blipFill>
          <p:spPr bwMode="auto">
            <a:xfrm>
              <a:off x="3878663" y="1647697"/>
              <a:ext cx="1026698" cy="280365"/>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4397557-11AA-EA9A-DA7F-B2DA5F47EDF8}"/>
                </a:ext>
              </a:extLst>
            </p:cNvPr>
            <p:cNvSpPr txBox="1"/>
            <p:nvPr/>
          </p:nvSpPr>
          <p:spPr>
            <a:xfrm>
              <a:off x="5526555" y="1646107"/>
              <a:ext cx="1489510" cy="246221"/>
            </a:xfrm>
            <a:prstGeom prst="rect">
              <a:avLst/>
            </a:prstGeom>
            <a:noFill/>
          </p:spPr>
          <p:txBody>
            <a:bodyPr wrap="none" rtlCol="0">
              <a:spAutoFit/>
            </a:bodyPr>
            <a:lstStyle/>
            <a:p>
              <a:pPr algn="l"/>
              <a:r>
                <a:rPr lang="en-US" sz="1000" b="1">
                  <a:solidFill>
                    <a:schemeClr val="tx1">
                      <a:lumMod val="75000"/>
                      <a:lumOff val="25000"/>
                    </a:schemeClr>
                  </a:solidFill>
                  <a:latin typeface="Arial" pitchFamily="34" charset="0"/>
                  <a:cs typeface="Arial" pitchFamily="34" charset="0"/>
                </a:rPr>
                <a:t>Adjusted Resell Price</a:t>
              </a:r>
            </a:p>
          </p:txBody>
        </p:sp>
        <p:sp>
          <p:nvSpPr>
            <p:cNvPr id="16" name="TextBox 15">
              <a:extLst>
                <a:ext uri="{FF2B5EF4-FFF2-40B4-BE49-F238E27FC236}">
                  <a16:creationId xmlns:a16="http://schemas.microsoft.com/office/drawing/2014/main" id="{EEA969C1-CF1D-8861-4646-DFA795037E18}"/>
                </a:ext>
              </a:extLst>
            </p:cNvPr>
            <p:cNvSpPr txBox="1"/>
            <p:nvPr/>
          </p:nvSpPr>
          <p:spPr>
            <a:xfrm>
              <a:off x="5049266" y="1731512"/>
              <a:ext cx="319318" cy="369332"/>
            </a:xfrm>
            <a:prstGeom prst="rect">
              <a:avLst/>
            </a:prstGeom>
            <a:noFill/>
          </p:spPr>
          <p:txBody>
            <a:bodyPr wrap="none" rtlCol="0">
              <a:spAutoFit/>
            </a:bodyPr>
            <a:lstStyle/>
            <a:p>
              <a:pPr algn="l"/>
              <a:r>
                <a:rPr lang="en-US">
                  <a:solidFill>
                    <a:schemeClr val="tx1">
                      <a:lumMod val="75000"/>
                      <a:lumOff val="25000"/>
                    </a:schemeClr>
                  </a:solidFill>
                  <a:latin typeface="Arial" pitchFamily="34" charset="0"/>
                  <a:cs typeface="Arial" pitchFamily="34" charset="0"/>
                </a:rPr>
                <a:t>=</a:t>
              </a:r>
            </a:p>
          </p:txBody>
        </p:sp>
        <p:sp>
          <p:nvSpPr>
            <p:cNvPr id="17" name="TextBox 16">
              <a:extLst>
                <a:ext uri="{FF2B5EF4-FFF2-40B4-BE49-F238E27FC236}">
                  <a16:creationId xmlns:a16="http://schemas.microsoft.com/office/drawing/2014/main" id="{5FA1E80F-157C-C85E-EAAD-1D698FEC0A6A}"/>
                </a:ext>
              </a:extLst>
            </p:cNvPr>
            <p:cNvSpPr txBox="1"/>
            <p:nvPr/>
          </p:nvSpPr>
          <p:spPr>
            <a:xfrm>
              <a:off x="5913453" y="1884264"/>
              <a:ext cx="678391" cy="246221"/>
            </a:xfrm>
            <a:prstGeom prst="rect">
              <a:avLst/>
            </a:prstGeom>
            <a:noFill/>
          </p:spPr>
          <p:txBody>
            <a:bodyPr wrap="none" rtlCol="0">
              <a:spAutoFit/>
            </a:bodyPr>
            <a:lstStyle/>
            <a:p>
              <a:pPr algn="l"/>
              <a:r>
                <a:rPr lang="en-US" sz="1000" b="1">
                  <a:solidFill>
                    <a:schemeClr val="tx1">
                      <a:lumMod val="75000"/>
                      <a:lumOff val="25000"/>
                    </a:schemeClr>
                  </a:solidFill>
                  <a:latin typeface="Arial" pitchFamily="34" charset="0"/>
                  <a:cs typeface="Arial" pitchFamily="34" charset="0"/>
                </a:rPr>
                <a:t>7,114.00</a:t>
              </a:r>
            </a:p>
          </p:txBody>
        </p:sp>
        <p:sp>
          <p:nvSpPr>
            <p:cNvPr id="18" name="TextBox 17">
              <a:extLst>
                <a:ext uri="{FF2B5EF4-FFF2-40B4-BE49-F238E27FC236}">
                  <a16:creationId xmlns:a16="http://schemas.microsoft.com/office/drawing/2014/main" id="{8004A98F-558F-619A-B263-F3674E66E8E4}"/>
                </a:ext>
              </a:extLst>
            </p:cNvPr>
            <p:cNvSpPr txBox="1"/>
            <p:nvPr/>
          </p:nvSpPr>
          <p:spPr>
            <a:xfrm>
              <a:off x="1690430" y="2429991"/>
              <a:ext cx="5200013" cy="461665"/>
            </a:xfrm>
            <a:prstGeom prst="rect">
              <a:avLst/>
            </a:prstGeom>
            <a:noFill/>
          </p:spPr>
          <p:txBody>
            <a:bodyPr wrap="none" rtlCol="0">
              <a:spAutoFit/>
            </a:bodyPr>
            <a:lstStyle/>
            <a:p>
              <a:pPr algn="l"/>
              <a:r>
                <a:rPr lang="en-US" sz="1200" b="1">
                  <a:solidFill>
                    <a:schemeClr val="tx1">
                      <a:lumMod val="75000"/>
                      <a:lumOff val="25000"/>
                    </a:schemeClr>
                  </a:solidFill>
                  <a:latin typeface="Arial" pitchFamily="34" charset="0"/>
                  <a:cs typeface="Arial" pitchFamily="34" charset="0"/>
                </a:rPr>
                <a:t>Estimated Non-Binding Leasing Price </a:t>
              </a:r>
              <a:r>
                <a:rPr lang="en-US" sz="1200">
                  <a:solidFill>
                    <a:schemeClr val="tx1">
                      <a:lumMod val="75000"/>
                      <a:lumOff val="25000"/>
                    </a:schemeClr>
                  </a:solidFill>
                  <a:latin typeface="Arial" pitchFamily="34" charset="0"/>
                  <a:cs typeface="Arial" pitchFamily="34" charset="0"/>
                </a:rPr>
                <a:t>(based on Adjusted Resell Price)</a:t>
              </a:r>
            </a:p>
            <a:p>
              <a:pPr algn="l"/>
              <a:r>
                <a:rPr lang="en-US" sz="1100">
                  <a:solidFill>
                    <a:schemeClr val="tx1">
                      <a:lumMod val="75000"/>
                      <a:lumOff val="25000"/>
                    </a:schemeClr>
                  </a:solidFill>
                  <a:latin typeface="Arial" pitchFamily="34" charset="0"/>
                  <a:cs typeface="Arial" pitchFamily="34" charset="0"/>
                </a:rPr>
                <a:t>Price will be finalized upon credit check and final price approval.</a:t>
              </a:r>
            </a:p>
          </p:txBody>
        </p:sp>
        <p:pic>
          <p:nvPicPr>
            <p:cNvPr id="25" name="Picture 24">
              <a:extLst>
                <a:ext uri="{FF2B5EF4-FFF2-40B4-BE49-F238E27FC236}">
                  <a16:creationId xmlns:a16="http://schemas.microsoft.com/office/drawing/2014/main" id="{1E106C70-B388-230B-CDFD-A94E89BAC1A2}"/>
                </a:ext>
              </a:extLst>
            </p:cNvPr>
            <p:cNvPicPr>
              <a:picLocks noChangeAspect="1"/>
            </p:cNvPicPr>
            <p:nvPr/>
          </p:nvPicPr>
          <p:blipFill>
            <a:blip r:embed="rId6"/>
            <a:srcRect b="6852"/>
            <a:stretch>
              <a:fillRect/>
            </a:stretch>
          </p:blipFill>
          <p:spPr>
            <a:xfrm>
              <a:off x="1693468" y="4222537"/>
              <a:ext cx="7250953" cy="2548008"/>
            </a:xfrm>
            <a:prstGeom prst="rect">
              <a:avLst/>
            </a:prstGeom>
          </p:spPr>
        </p:pic>
        <p:pic>
          <p:nvPicPr>
            <p:cNvPr id="4" name="Picture 3">
              <a:extLst>
                <a:ext uri="{FF2B5EF4-FFF2-40B4-BE49-F238E27FC236}">
                  <a16:creationId xmlns:a16="http://schemas.microsoft.com/office/drawing/2014/main" id="{531012C1-B4A1-D1B9-32E4-E57CEE4B7D88}"/>
                </a:ext>
              </a:extLst>
            </p:cNvPr>
            <p:cNvPicPr>
              <a:picLocks noChangeAspect="1"/>
            </p:cNvPicPr>
            <p:nvPr/>
          </p:nvPicPr>
          <p:blipFill>
            <a:blip r:embed="rId6"/>
            <a:srcRect b="94517"/>
            <a:stretch>
              <a:fillRect/>
            </a:stretch>
          </p:blipFill>
          <p:spPr>
            <a:xfrm>
              <a:off x="1577983" y="2365777"/>
              <a:ext cx="7250953" cy="149999"/>
            </a:xfrm>
            <a:prstGeom prst="rect">
              <a:avLst/>
            </a:prstGeom>
          </p:spPr>
        </p:pic>
        <p:sp>
          <p:nvSpPr>
            <p:cNvPr id="13" name="TextBox 12">
              <a:extLst>
                <a:ext uri="{FF2B5EF4-FFF2-40B4-BE49-F238E27FC236}">
                  <a16:creationId xmlns:a16="http://schemas.microsoft.com/office/drawing/2014/main" id="{1D8D72B9-D8DB-0FEF-F470-63E0FC403439}"/>
                </a:ext>
              </a:extLst>
            </p:cNvPr>
            <p:cNvSpPr txBox="1"/>
            <p:nvPr/>
          </p:nvSpPr>
          <p:spPr>
            <a:xfrm>
              <a:off x="1690430" y="1338637"/>
              <a:ext cx="1928733" cy="276999"/>
            </a:xfrm>
            <a:prstGeom prst="rect">
              <a:avLst/>
            </a:prstGeom>
            <a:noFill/>
          </p:spPr>
          <p:txBody>
            <a:bodyPr wrap="none" rtlCol="0">
              <a:spAutoFit/>
            </a:bodyPr>
            <a:lstStyle/>
            <a:p>
              <a:pPr algn="l"/>
              <a:r>
                <a:rPr lang="en-US" sz="1200" b="1">
                  <a:solidFill>
                    <a:schemeClr val="tx1">
                      <a:lumMod val="75000"/>
                      <a:lumOff val="25000"/>
                    </a:schemeClr>
                  </a:solidFill>
                  <a:latin typeface="Arial" pitchFamily="34" charset="0"/>
                  <a:cs typeface="Arial" pitchFamily="34" charset="0"/>
                </a:rPr>
                <a:t>Resell Price Calculation</a:t>
              </a:r>
              <a:endParaRPr lang="en-US" sz="1200">
                <a:solidFill>
                  <a:schemeClr val="tx1">
                    <a:lumMod val="75000"/>
                    <a:lumOff val="25000"/>
                  </a:schemeClr>
                </a:solidFill>
                <a:latin typeface="Arial" pitchFamily="34" charset="0"/>
                <a:cs typeface="Arial" pitchFamily="34" charset="0"/>
              </a:endParaRPr>
            </a:p>
          </p:txBody>
        </p:sp>
        <p:sp>
          <p:nvSpPr>
            <p:cNvPr id="19" name="TextBox 18">
              <a:extLst>
                <a:ext uri="{FF2B5EF4-FFF2-40B4-BE49-F238E27FC236}">
                  <a16:creationId xmlns:a16="http://schemas.microsoft.com/office/drawing/2014/main" id="{3CB1EA8C-F5DE-CAAA-D73E-5D3C7399DB4F}"/>
                </a:ext>
              </a:extLst>
            </p:cNvPr>
            <p:cNvSpPr txBox="1"/>
            <p:nvPr/>
          </p:nvSpPr>
          <p:spPr>
            <a:xfrm>
              <a:off x="7090654" y="1320456"/>
              <a:ext cx="2441694" cy="253916"/>
            </a:xfrm>
            <a:prstGeom prst="rect">
              <a:avLst/>
            </a:prstGeom>
            <a:noFill/>
          </p:spPr>
          <p:txBody>
            <a:bodyPr wrap="none" rtlCol="0">
              <a:spAutoFit/>
            </a:bodyPr>
            <a:lstStyle/>
            <a:p>
              <a:pPr algn="l"/>
              <a:r>
                <a:rPr lang="en-US" sz="1050" u="sng">
                  <a:solidFill>
                    <a:schemeClr val="accent6">
                      <a:lumMod val="50000"/>
                      <a:lumOff val="50000"/>
                    </a:schemeClr>
                  </a:solidFill>
                  <a:latin typeface="Arial" pitchFamily="34" charset="0"/>
                  <a:cs typeface="Arial" pitchFamily="34" charset="0"/>
                </a:rPr>
                <a:t>Resell Price Adjustment per Line Item</a:t>
              </a:r>
            </a:p>
          </p:txBody>
        </p:sp>
        <p:pic>
          <p:nvPicPr>
            <p:cNvPr id="20" name="Picture 19">
              <a:extLst>
                <a:ext uri="{FF2B5EF4-FFF2-40B4-BE49-F238E27FC236}">
                  <a16:creationId xmlns:a16="http://schemas.microsoft.com/office/drawing/2014/main" id="{E51B4133-F519-2E12-D12C-B5C460CE336F}"/>
                </a:ext>
              </a:extLst>
            </p:cNvPr>
            <p:cNvPicPr>
              <a:picLocks noChangeAspect="1"/>
            </p:cNvPicPr>
            <p:nvPr/>
          </p:nvPicPr>
          <p:blipFill>
            <a:blip r:embed="rId6"/>
            <a:srcRect l="37114" t="57095" b="29666"/>
            <a:stretch>
              <a:fillRect/>
            </a:stretch>
          </p:blipFill>
          <p:spPr>
            <a:xfrm>
              <a:off x="3292486" y="5802720"/>
              <a:ext cx="4559808" cy="362144"/>
            </a:xfrm>
            <a:prstGeom prst="rect">
              <a:avLst/>
            </a:prstGeom>
          </p:spPr>
        </p:pic>
        <p:sp>
          <p:nvSpPr>
            <p:cNvPr id="21" name="Rectangle 20">
              <a:extLst>
                <a:ext uri="{FF2B5EF4-FFF2-40B4-BE49-F238E27FC236}">
                  <a16:creationId xmlns:a16="http://schemas.microsoft.com/office/drawing/2014/main" id="{11B1A32E-BDD5-6881-3FC7-229F93EB8C9D}"/>
                </a:ext>
              </a:extLst>
            </p:cNvPr>
            <p:cNvSpPr/>
            <p:nvPr/>
          </p:nvSpPr>
          <p:spPr>
            <a:xfrm>
              <a:off x="1690429" y="6353412"/>
              <a:ext cx="2014479" cy="41863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l"/>
              <a:endParaRPr lang="en-US" sz="1400" err="1">
                <a:solidFill>
                  <a:schemeClr val="tx1">
                    <a:lumMod val="75000"/>
                    <a:lumOff val="25000"/>
                  </a:schemeClr>
                </a:solidFill>
              </a:endParaRPr>
            </a:p>
          </p:txBody>
        </p:sp>
        <p:sp>
          <p:nvSpPr>
            <p:cNvPr id="23" name="Rectangle 22">
              <a:extLst>
                <a:ext uri="{FF2B5EF4-FFF2-40B4-BE49-F238E27FC236}">
                  <a16:creationId xmlns:a16="http://schemas.microsoft.com/office/drawing/2014/main" id="{45961683-3344-4088-E302-AD044B7B69FD}"/>
                </a:ext>
              </a:extLst>
            </p:cNvPr>
            <p:cNvSpPr/>
            <p:nvPr/>
          </p:nvSpPr>
          <p:spPr>
            <a:xfrm>
              <a:off x="7095381" y="3898199"/>
              <a:ext cx="1712976" cy="3648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l"/>
              <a:endParaRPr lang="en-US" sz="1400" err="1">
                <a:solidFill>
                  <a:schemeClr val="tx1">
                    <a:lumMod val="75000"/>
                    <a:lumOff val="25000"/>
                  </a:schemeClr>
                </a:solidFill>
              </a:endParaRPr>
            </a:p>
          </p:txBody>
        </p:sp>
        <p:sp>
          <p:nvSpPr>
            <p:cNvPr id="2" name="Rectangle 1">
              <a:extLst>
                <a:ext uri="{FF2B5EF4-FFF2-40B4-BE49-F238E27FC236}">
                  <a16:creationId xmlns:a16="http://schemas.microsoft.com/office/drawing/2014/main" id="{CD5E81B2-BC8A-C86D-6FB0-7433BA1B412E}"/>
                </a:ext>
              </a:extLst>
            </p:cNvPr>
            <p:cNvSpPr/>
            <p:nvPr/>
          </p:nvSpPr>
          <p:spPr>
            <a:xfrm>
              <a:off x="3277033" y="5802721"/>
              <a:ext cx="830212" cy="3191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l"/>
              <a:endParaRPr lang="en-US" sz="1400" err="1">
                <a:solidFill>
                  <a:schemeClr val="tx1">
                    <a:lumMod val="75000"/>
                    <a:lumOff val="25000"/>
                  </a:schemeClr>
                </a:solidFill>
              </a:endParaRPr>
            </a:p>
          </p:txBody>
        </p:sp>
        <p:pic>
          <p:nvPicPr>
            <p:cNvPr id="24" name="Picture 23">
              <a:extLst>
                <a:ext uri="{FF2B5EF4-FFF2-40B4-BE49-F238E27FC236}">
                  <a16:creationId xmlns:a16="http://schemas.microsoft.com/office/drawing/2014/main" id="{B3ACDDFD-101B-C5DD-D499-135A71DB0314}"/>
                </a:ext>
              </a:extLst>
            </p:cNvPr>
            <p:cNvPicPr>
              <a:picLocks noChangeAspect="1"/>
            </p:cNvPicPr>
            <p:nvPr/>
          </p:nvPicPr>
          <p:blipFill>
            <a:blip r:embed="rId6"/>
            <a:srcRect l="38013" t="17816" r="19888" b="43343"/>
            <a:stretch>
              <a:fillRect/>
            </a:stretch>
          </p:blipFill>
          <p:spPr>
            <a:xfrm>
              <a:off x="2089071" y="4723596"/>
              <a:ext cx="3052580" cy="1062482"/>
            </a:xfrm>
            <a:prstGeom prst="rect">
              <a:avLst/>
            </a:prstGeom>
          </p:spPr>
        </p:pic>
        <p:sp>
          <p:nvSpPr>
            <p:cNvPr id="26" name="Rectangle 25">
              <a:extLst>
                <a:ext uri="{FF2B5EF4-FFF2-40B4-BE49-F238E27FC236}">
                  <a16:creationId xmlns:a16="http://schemas.microsoft.com/office/drawing/2014/main" id="{901EE16B-054A-BFDA-C84B-218C7E22A6F2}"/>
                </a:ext>
              </a:extLst>
            </p:cNvPr>
            <p:cNvSpPr/>
            <p:nvPr/>
          </p:nvSpPr>
          <p:spPr>
            <a:xfrm>
              <a:off x="4738368" y="4679793"/>
              <a:ext cx="4251772" cy="114380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l"/>
              <a:endParaRPr lang="en-US" sz="1400" err="1">
                <a:solidFill>
                  <a:schemeClr val="tx1">
                    <a:lumMod val="75000"/>
                    <a:lumOff val="25000"/>
                  </a:schemeClr>
                </a:solidFill>
              </a:endParaRPr>
            </a:p>
          </p:txBody>
        </p:sp>
        <p:sp>
          <p:nvSpPr>
            <p:cNvPr id="29" name="TextBox 28">
              <a:extLst>
                <a:ext uri="{FF2B5EF4-FFF2-40B4-BE49-F238E27FC236}">
                  <a16:creationId xmlns:a16="http://schemas.microsoft.com/office/drawing/2014/main" id="{77B5C32B-96EE-4CEC-0C41-C1EB3A004E3A}"/>
                </a:ext>
              </a:extLst>
            </p:cNvPr>
            <p:cNvSpPr txBox="1"/>
            <p:nvPr/>
          </p:nvSpPr>
          <p:spPr>
            <a:xfrm>
              <a:off x="1633528" y="2185516"/>
              <a:ext cx="7016247" cy="246221"/>
            </a:xfrm>
            <a:prstGeom prst="rect">
              <a:avLst/>
            </a:prstGeom>
            <a:noFill/>
          </p:spPr>
          <p:txBody>
            <a:bodyPr wrap="square" rtlCol="0">
              <a:spAutoFit/>
            </a:bodyPr>
            <a:lstStyle/>
            <a:p>
              <a:pPr algn="l"/>
              <a:r>
                <a:rPr lang="en-US" sz="1000">
                  <a:solidFill>
                    <a:schemeClr val="tx1">
                      <a:lumMod val="75000"/>
                      <a:lumOff val="25000"/>
                    </a:schemeClr>
                  </a:solidFill>
                  <a:latin typeface="Arial" pitchFamily="34" charset="0"/>
                  <a:cs typeface="Arial" pitchFamily="34" charset="0"/>
                </a:rPr>
                <a:t>Note : Uplift input is used to calculate estimated lease price only, and it is deleted after finalizing a quote. </a:t>
              </a:r>
            </a:p>
          </p:txBody>
        </p:sp>
      </p:grpSp>
      <p:sp>
        <p:nvSpPr>
          <p:cNvPr id="22" name="Rectangle 21">
            <a:extLst>
              <a:ext uri="{FF2B5EF4-FFF2-40B4-BE49-F238E27FC236}">
                <a16:creationId xmlns:a16="http://schemas.microsoft.com/office/drawing/2014/main" id="{D53237AE-4813-7768-CA94-3BE520F81E6A}"/>
              </a:ext>
            </a:extLst>
          </p:cNvPr>
          <p:cNvSpPr/>
          <p:nvPr/>
        </p:nvSpPr>
        <p:spPr>
          <a:xfrm>
            <a:off x="10525125" y="309626"/>
            <a:ext cx="1584905" cy="520282"/>
          </a:xfrm>
          <a:prstGeom prst="rect">
            <a:avLst/>
          </a:prstGeom>
          <a:solidFill>
            <a:schemeClr val="bg1">
              <a:lumMod val="95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r>
              <a:rPr lang="en-US" sz="1400" b="1">
                <a:solidFill>
                  <a:srgbClr val="0000FF"/>
                </a:solidFill>
              </a:rPr>
              <a:t>Executed by Channel Partner</a:t>
            </a:r>
          </a:p>
        </p:txBody>
      </p:sp>
      <mc:AlternateContent xmlns:mc="http://schemas.openxmlformats.org/markup-compatibility/2006">
        <mc:Choice xmlns:p14="http://schemas.microsoft.com/office/powerpoint/2010/main" Requires="p14">
          <p:contentPart p14:bwMode="auto" r:id="rId7">
            <p14:nvContentPartPr>
              <p14:cNvPr id="27" name="Ink 26">
                <a:extLst>
                  <a:ext uri="{FF2B5EF4-FFF2-40B4-BE49-F238E27FC236}">
                    <a16:creationId xmlns:a16="http://schemas.microsoft.com/office/drawing/2014/main" id="{CF143BF2-5610-7EC9-3537-10FAAA147EE5}"/>
                  </a:ext>
                </a:extLst>
              </p14:cNvPr>
              <p14:cNvContentPartPr/>
              <p14:nvPr/>
            </p14:nvContentPartPr>
            <p14:xfrm>
              <a:off x="3746499" y="1951440"/>
              <a:ext cx="602203" cy="38225"/>
            </p14:xfrm>
          </p:contentPart>
        </mc:Choice>
        <mc:Fallback>
          <p:pic>
            <p:nvPicPr>
              <p:cNvPr id="27" name="Ink 26">
                <a:extLst>
                  <a:ext uri="{FF2B5EF4-FFF2-40B4-BE49-F238E27FC236}">
                    <a16:creationId xmlns:a16="http://schemas.microsoft.com/office/drawing/2014/main" id="{CF143BF2-5610-7EC9-3537-10FAAA147EE5}"/>
                  </a:ext>
                </a:extLst>
              </p:cNvPr>
              <p:cNvPicPr/>
              <p:nvPr/>
            </p:nvPicPr>
            <p:blipFill>
              <a:blip r:embed="rId8"/>
              <a:stretch>
                <a:fillRect/>
              </a:stretch>
            </p:blipFill>
            <p:spPr>
              <a:xfrm>
                <a:off x="3692898" y="1844267"/>
                <a:ext cx="709765" cy="252214"/>
              </a:xfrm>
              <a:prstGeom prst="rect">
                <a:avLst/>
              </a:prstGeom>
            </p:spPr>
          </p:pic>
        </mc:Fallback>
      </mc:AlternateContent>
    </p:spTree>
    <p:extLst>
      <p:ext uri="{BB962C8B-B14F-4D97-AF65-F5344CB8AC3E}">
        <p14:creationId xmlns:p14="http://schemas.microsoft.com/office/powerpoint/2010/main" val="2883189782"/>
      </p:ext>
    </p:extLst>
  </p:cSld>
  <p:clrMapOvr>
    <a:masterClrMapping/>
  </p:clrMapOvr>
  <p:transition spd="med"/>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novo Master">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Lenovo_Slide-Library_041125" id="{E71C3369-C216-4B4C-8A0C-39BD2E32186C}" vid="{95061952-034F-4521-9D4F-ACEF487C9C2C}"/>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9_Lenovo Master">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2" id="{801F0EFB-2C83-467E-9C74-8BC1880F0711}" vid="{6269488C-A493-47DF-A482-F3B8DFDA39B2}"/>
    </a:ext>
  </a:extLst>
</a:theme>
</file>

<file path=ppt/theme/theme4.xml><?xml version="1.0" encoding="utf-8"?>
<a:theme xmlns:a="http://schemas.openxmlformats.org/drawingml/2006/main" name="4_Lenovo Master">
  <a:themeElements>
    <a:clrScheme name="Lenovo">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Lenovo-16x9_Lite_Oct2022" id="{E2F9D967-1DF4-4986-A01D-90348F5EACA1}" vid="{DD6C2C26-8C6E-44F5-B3DE-268A1C992994}"/>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1_Lenovo Master">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Lenovo-16x9_Expanded_Oct2022" id="{B42C92DE-2596-4471-BD2D-E7CB7ED4ED5A}" vid="{90871ED3-FBE5-4CC4-B06A-DA630AA543A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76111F68130641BAA76D2354D021AF" ma:contentTypeVersion="11" ma:contentTypeDescription="Create a new document." ma:contentTypeScope="" ma:versionID="e4472ff58a6560447d62b3fea40012e4">
  <xsd:schema xmlns:xsd="http://www.w3.org/2001/XMLSchema" xmlns:xs="http://www.w3.org/2001/XMLSchema" xmlns:p="http://schemas.microsoft.com/office/2006/metadata/properties" xmlns:ns2="47ee770f-434e-4d72-aa83-d7e9b127e507" xmlns:ns3="609a93a0-0bd0-4577-8351-8da691419a60" targetNamespace="http://schemas.microsoft.com/office/2006/metadata/properties" ma:root="true" ma:fieldsID="3b1eb3fe9c2e5ed50539c40f2052f18b" ns2:_="" ns3:_="">
    <xsd:import namespace="47ee770f-434e-4d72-aa83-d7e9b127e507"/>
    <xsd:import namespace="609a93a0-0bd0-4577-8351-8da691419a6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ee770f-434e-4d72-aa83-d7e9b127e5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BillingMetadata" ma:index="1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09a93a0-0bd0-4577-8351-8da691419a6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D74894-4395-4054-922D-FB474EEED94C}"/>
</file>

<file path=customXml/itemProps2.xml><?xml version="1.0" encoding="utf-8"?>
<ds:datastoreItem xmlns:ds="http://schemas.openxmlformats.org/officeDocument/2006/customXml" ds:itemID="{47063BA3-FE6E-47F7-AE97-F1552426FBF6}">
  <ds:schemaRefs>
    <ds:schemaRef ds:uri="0f6aa786-3f67-4679-9be0-98c31f6ab9d4"/>
    <ds:schemaRef ds:uri="9b994a3e-9b82-4267-8879-6c7696d2f98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9A7F5CE-2EFD-4063-82E7-A1292E82B37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092</Words>
  <Application>Microsoft Office PowerPoint</Application>
  <PresentationFormat>Widescreen</PresentationFormat>
  <Paragraphs>151</Paragraphs>
  <Slides>11</Slides>
  <Notes>2</Notes>
  <HiddenSlides>0</HiddenSlides>
  <MMClips>1</MMClips>
  <ScaleCrop>false</ScaleCrop>
  <HeadingPairs>
    <vt:vector size="4" baseType="variant">
      <vt:variant>
        <vt:lpstr>Theme</vt:lpstr>
      </vt:variant>
      <vt:variant>
        <vt:i4>7</vt:i4>
      </vt:variant>
      <vt:variant>
        <vt:lpstr>Slide Titles</vt:lpstr>
      </vt:variant>
      <vt:variant>
        <vt:i4>11</vt:i4>
      </vt:variant>
    </vt:vector>
  </HeadingPairs>
  <TitlesOfParts>
    <vt:vector size="18" baseType="lpstr">
      <vt:lpstr>Lenovo Master</vt:lpstr>
      <vt:lpstr>1_Office Theme</vt:lpstr>
      <vt:lpstr>9_Lenovo Master</vt:lpstr>
      <vt:lpstr>4_Lenovo Master</vt:lpstr>
      <vt:lpstr>2_Office Theme</vt:lpstr>
      <vt:lpstr>1_Lenovo Master</vt:lpstr>
      <vt:lpstr>Office Theme</vt:lpstr>
      <vt:lpstr>Our Key Offerings</vt:lpstr>
      <vt:lpstr>PowerPoint Presentation</vt:lpstr>
      <vt:lpstr>What is Capex to Opex Indirect?</vt:lpstr>
      <vt:lpstr>PowerPoint Presentation</vt:lpstr>
      <vt:lpstr>What to Know</vt:lpstr>
      <vt:lpstr>High Level Process Flow: Partner Initiated Financing Quote </vt:lpstr>
      <vt:lpstr>Partner Initiated Quote: Financing in LBP-e Bid</vt:lpstr>
      <vt:lpstr>PowerPoint Presentation</vt:lpstr>
      <vt:lpstr>Financing quote in LBP-e Bid</vt:lpstr>
      <vt:lpstr>Financing Quote PDF Output</vt:lpstr>
      <vt:lpstr>Export Templa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rolyn Lathan</dc:creator>
  <cp:lastModifiedBy>Ragheb Sallaj</cp:lastModifiedBy>
  <cp:revision>11</cp:revision>
  <dcterms:created xsi:type="dcterms:W3CDTF">2026-04-16T01:49:17Z</dcterms:created>
  <dcterms:modified xsi:type="dcterms:W3CDTF">2026-06-09T19:4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76111F68130641BAA76D2354D021AF</vt:lpwstr>
  </property>
  <property fmtid="{D5CDD505-2E9C-101B-9397-08002B2CF9AE}" pid="3" name="MediaServiceImageTags">
    <vt:lpwstr/>
  </property>
</Properties>
</file>